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6"/>
  </p:sldMasterIdLst>
  <p:notesMasterIdLst>
    <p:notesMasterId r:id="rId116"/>
  </p:notesMasterIdLst>
  <p:handoutMasterIdLst>
    <p:handoutMasterId r:id="rId117"/>
  </p:handoutMasterIdLst>
  <p:sldIdLst>
    <p:sldId id="256" r:id="rId7"/>
    <p:sldId id="258" r:id="rId8"/>
    <p:sldId id="257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7" r:id="rId24"/>
    <p:sldId id="278" r:id="rId25"/>
    <p:sldId id="276" r:id="rId26"/>
    <p:sldId id="279" r:id="rId27"/>
    <p:sldId id="281" r:id="rId28"/>
    <p:sldId id="280" r:id="rId29"/>
    <p:sldId id="282" r:id="rId30"/>
    <p:sldId id="285" r:id="rId31"/>
    <p:sldId id="284" r:id="rId32"/>
    <p:sldId id="303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283" r:id="rId50"/>
    <p:sldId id="304" r:id="rId51"/>
    <p:sldId id="305" r:id="rId52"/>
    <p:sldId id="306" r:id="rId53"/>
    <p:sldId id="307" r:id="rId54"/>
    <p:sldId id="308" r:id="rId55"/>
    <p:sldId id="309" r:id="rId56"/>
    <p:sldId id="310" r:id="rId57"/>
    <p:sldId id="312" r:id="rId58"/>
    <p:sldId id="313" r:id="rId59"/>
    <p:sldId id="314" r:id="rId60"/>
    <p:sldId id="315" r:id="rId61"/>
    <p:sldId id="316" r:id="rId62"/>
    <p:sldId id="317" r:id="rId63"/>
    <p:sldId id="318" r:id="rId64"/>
    <p:sldId id="319" r:id="rId65"/>
    <p:sldId id="320" r:id="rId66"/>
    <p:sldId id="321" r:id="rId67"/>
    <p:sldId id="322" r:id="rId68"/>
    <p:sldId id="323" r:id="rId69"/>
    <p:sldId id="324" r:id="rId70"/>
    <p:sldId id="325" r:id="rId71"/>
    <p:sldId id="326" r:id="rId72"/>
    <p:sldId id="327" r:id="rId73"/>
    <p:sldId id="328" r:id="rId74"/>
    <p:sldId id="329" r:id="rId75"/>
    <p:sldId id="330" r:id="rId76"/>
    <p:sldId id="331" r:id="rId77"/>
    <p:sldId id="332" r:id="rId78"/>
    <p:sldId id="333" r:id="rId79"/>
    <p:sldId id="334" r:id="rId80"/>
    <p:sldId id="335" r:id="rId81"/>
    <p:sldId id="336" r:id="rId82"/>
    <p:sldId id="337" r:id="rId83"/>
    <p:sldId id="342" r:id="rId84"/>
    <p:sldId id="343" r:id="rId85"/>
    <p:sldId id="344" r:id="rId86"/>
    <p:sldId id="345" r:id="rId87"/>
    <p:sldId id="346" r:id="rId88"/>
    <p:sldId id="347" r:id="rId89"/>
    <p:sldId id="348" r:id="rId90"/>
    <p:sldId id="349" r:id="rId91"/>
    <p:sldId id="350" r:id="rId92"/>
    <p:sldId id="351" r:id="rId93"/>
    <p:sldId id="352" r:id="rId94"/>
    <p:sldId id="353" r:id="rId95"/>
    <p:sldId id="354" r:id="rId96"/>
    <p:sldId id="355" r:id="rId97"/>
    <p:sldId id="357" r:id="rId98"/>
    <p:sldId id="356" r:id="rId99"/>
    <p:sldId id="358" r:id="rId100"/>
    <p:sldId id="359" r:id="rId101"/>
    <p:sldId id="360" r:id="rId102"/>
    <p:sldId id="362" r:id="rId103"/>
    <p:sldId id="363" r:id="rId104"/>
    <p:sldId id="364" r:id="rId105"/>
    <p:sldId id="365" r:id="rId106"/>
    <p:sldId id="366" r:id="rId107"/>
    <p:sldId id="367" r:id="rId108"/>
    <p:sldId id="368" r:id="rId109"/>
    <p:sldId id="369" r:id="rId110"/>
    <p:sldId id="370" r:id="rId111"/>
    <p:sldId id="371" r:id="rId112"/>
    <p:sldId id="372" r:id="rId113"/>
    <p:sldId id="375" r:id="rId114"/>
    <p:sldId id="374" r:id="rId115"/>
  </p:sldIdLst>
  <p:sldSz cx="12192000" cy="6858000"/>
  <p:notesSz cx="6858000" cy="9144000"/>
  <p:custDataLst>
    <p:tags r:id="rId1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783905-83D8-6220-B39B-0A5EC9DD5A75}" name="Line Nørmark (Transition)" initials="L(" userId="S::line_transition.nu#ext#@vmas.onmicrosoft.com::95cbf75c-7397-44bb-ba66-bfaacd6d5707" providerId="AD"/>
  <p188:author id="{FDDF4F0C-2E59-FECD-0687-9D9C67A89761}" name="Søren Steensen | Viegand Maagøe" initials="" userId="S::SST@viegandmaagoe.dk::1fdad135-f787-45d0-b9f0-203312a68808" providerId="AD"/>
  <p188:author id="{29C03F63-0CE2-F529-970C-B2F54F013179}" name="Line Nørmark (Transition)" initials="LN" userId="S::line@transition.nu::edf6aa79-0a40-4f2b-afe7-29a5701160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9F58"/>
    <a:srgbClr val="DCDFE8"/>
    <a:srgbClr val="DCE2E8"/>
    <a:srgbClr val="2B2D5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A623E0-7326-9045-815C-7DD5D29B38EB}" v="61" dt="2024-04-30T12:01:18.636"/>
    <p1510:client id="{E11E5F3E-CD37-4BB8-BC01-324865023AEA}" v="95" dt="2024-04-29T13:41:19.451"/>
    <p1510:client id="{E638B0C9-A0D8-BB81-4674-200688311F31}" v="2" dt="2024-04-29T13:50:20.3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yst layout 2 - Markerin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90"/>
    <p:restoredTop sz="94612"/>
  </p:normalViewPr>
  <p:slideViewPr>
    <p:cSldViewPr snapToGrid="0">
      <p:cViewPr varScale="1">
        <p:scale>
          <a:sx n="143" d="100"/>
          <a:sy n="143" d="100"/>
        </p:scale>
        <p:origin x="63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117" Type="http://schemas.openxmlformats.org/officeDocument/2006/relationships/handoutMaster" Target="handoutMasters/handoutMaster1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112" Type="http://schemas.openxmlformats.org/officeDocument/2006/relationships/slide" Target="slides/slide106.xml"/><Relationship Id="rId16" Type="http://schemas.openxmlformats.org/officeDocument/2006/relationships/slide" Target="slides/slide10.xml"/><Relationship Id="rId107" Type="http://schemas.openxmlformats.org/officeDocument/2006/relationships/slide" Target="slides/slide101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102" Type="http://schemas.openxmlformats.org/officeDocument/2006/relationships/slide" Target="slides/slide96.xml"/><Relationship Id="rId123" Type="http://schemas.microsoft.com/office/2015/10/relationships/revisionInfo" Target="revisionInfo.xml"/><Relationship Id="rId5" Type="http://schemas.openxmlformats.org/officeDocument/2006/relationships/customXml" Target="../customXml/item5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113" Type="http://schemas.openxmlformats.org/officeDocument/2006/relationships/slide" Target="slides/slide107.xml"/><Relationship Id="rId118" Type="http://schemas.openxmlformats.org/officeDocument/2006/relationships/tags" Target="tags/tag1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59" Type="http://schemas.openxmlformats.org/officeDocument/2006/relationships/slide" Target="slides/slide53.xml"/><Relationship Id="rId103" Type="http://schemas.openxmlformats.org/officeDocument/2006/relationships/slide" Target="slides/slide97.xml"/><Relationship Id="rId108" Type="http://schemas.openxmlformats.org/officeDocument/2006/relationships/slide" Target="slides/slide102.xml"/><Relationship Id="rId124" Type="http://schemas.microsoft.com/office/2018/10/relationships/authors" Target="authors.xml"/><Relationship Id="rId54" Type="http://schemas.openxmlformats.org/officeDocument/2006/relationships/slide" Target="slides/slide48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49" Type="http://schemas.openxmlformats.org/officeDocument/2006/relationships/slide" Target="slides/slide43.xml"/><Relationship Id="rId114" Type="http://schemas.openxmlformats.org/officeDocument/2006/relationships/slide" Target="slides/slide108.xml"/><Relationship Id="rId119" Type="http://schemas.openxmlformats.org/officeDocument/2006/relationships/presProps" Target="presProps.xml"/><Relationship Id="rId44" Type="http://schemas.openxmlformats.org/officeDocument/2006/relationships/slide" Target="slides/slide38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slide" Target="slides/slide10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120" Type="http://schemas.openxmlformats.org/officeDocument/2006/relationships/viewProps" Target="viewProp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110" Type="http://schemas.openxmlformats.org/officeDocument/2006/relationships/slide" Target="slides/slide104.xml"/><Relationship Id="rId115" Type="http://schemas.openxmlformats.org/officeDocument/2006/relationships/slide" Target="slides/slide109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121" Type="http://schemas.openxmlformats.org/officeDocument/2006/relationships/theme" Target="theme/theme1.xml"/><Relationship Id="rId3" Type="http://schemas.openxmlformats.org/officeDocument/2006/relationships/customXml" Target="../customXml/item3.xml"/><Relationship Id="rId25" Type="http://schemas.openxmlformats.org/officeDocument/2006/relationships/slide" Target="slides/slide19.xml"/><Relationship Id="rId46" Type="http://schemas.openxmlformats.org/officeDocument/2006/relationships/slide" Target="slides/slide40.xml"/><Relationship Id="rId67" Type="http://schemas.openxmlformats.org/officeDocument/2006/relationships/slide" Target="slides/slide61.xml"/><Relationship Id="rId116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62" Type="http://schemas.openxmlformats.org/officeDocument/2006/relationships/slide" Target="slides/slide56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111" Type="http://schemas.openxmlformats.org/officeDocument/2006/relationships/slide" Target="slides/slide105.xml"/><Relationship Id="rId15" Type="http://schemas.openxmlformats.org/officeDocument/2006/relationships/slide" Target="slides/slide9.xml"/><Relationship Id="rId36" Type="http://schemas.openxmlformats.org/officeDocument/2006/relationships/slide" Target="slides/slide30.xml"/><Relationship Id="rId57" Type="http://schemas.openxmlformats.org/officeDocument/2006/relationships/slide" Target="slides/slide51.xml"/><Relationship Id="rId106" Type="http://schemas.openxmlformats.org/officeDocument/2006/relationships/slide" Target="slides/slide100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52" Type="http://schemas.openxmlformats.org/officeDocument/2006/relationships/slide" Target="slides/slide46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1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3/05/2024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 note</a:t>
            </a:r>
          </a:p>
          <a:p>
            <a:pPr lvl="6"/>
            <a:r>
              <a:rPr lang="en-US"/>
              <a:t>7 level</a:t>
            </a:r>
          </a:p>
          <a:p>
            <a:pPr lvl="7"/>
            <a:r>
              <a:rPr lang="en-US"/>
              <a:t>8 level</a:t>
            </a:r>
          </a:p>
          <a:p>
            <a:pPr lvl="8"/>
            <a:r>
              <a:rPr lang="en-US"/>
              <a:t>9 header	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3/05/2024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657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1540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180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bg>
      <p:bgPr>
        <a:solidFill>
          <a:schemeClr val="bg1">
            <a:alpha val="1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9EB28D47-AE28-366A-6121-2EE5577A0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50603" y="205835"/>
            <a:ext cx="2480497" cy="359766"/>
          </a:xfrm>
          <a:prstGeom prst="rect">
            <a:avLst/>
          </a:prstGeom>
        </p:spPr>
      </p:pic>
      <p:sp>
        <p:nvSpPr>
          <p:cNvPr id="312" name="Pladsholder til billede 311">
            <a:extLst>
              <a:ext uri="{FF2B5EF4-FFF2-40B4-BE49-F238E27FC236}">
                <a16:creationId xmlns:a16="http://schemas.microsoft.com/office/drawing/2014/main" id="{A47302B0-5626-9B28-574B-3EBA72160E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60288" y="-33912"/>
            <a:ext cx="12252288" cy="6891912"/>
          </a:xfrm>
          <a:custGeom>
            <a:avLst/>
            <a:gdLst>
              <a:gd name="connsiteX0" fmla="*/ 11163620 w 12252288"/>
              <a:gd name="connsiteY0" fmla="*/ 533485 h 6891912"/>
              <a:gd name="connsiteX1" fmla="*/ 11178936 w 12252288"/>
              <a:gd name="connsiteY1" fmla="*/ 533485 h 6891912"/>
              <a:gd name="connsiteX2" fmla="*/ 11178936 w 12252288"/>
              <a:gd name="connsiteY2" fmla="*/ 534761 h 6891912"/>
              <a:gd name="connsiteX3" fmla="*/ 11175108 w 12252288"/>
              <a:gd name="connsiteY3" fmla="*/ 544972 h 6891912"/>
              <a:gd name="connsiteX4" fmla="*/ 11164896 w 12252288"/>
              <a:gd name="connsiteY4" fmla="*/ 548800 h 6891912"/>
              <a:gd name="connsiteX5" fmla="*/ 11157240 w 12252288"/>
              <a:gd name="connsiteY5" fmla="*/ 547524 h 6891912"/>
              <a:gd name="connsiteX6" fmla="*/ 11154688 w 12252288"/>
              <a:gd name="connsiteY6" fmla="*/ 542419 h 6891912"/>
              <a:gd name="connsiteX7" fmla="*/ 11157240 w 12252288"/>
              <a:gd name="connsiteY7" fmla="*/ 537314 h 6891912"/>
              <a:gd name="connsiteX8" fmla="*/ 11163620 w 12252288"/>
              <a:gd name="connsiteY8" fmla="*/ 533485 h 6891912"/>
              <a:gd name="connsiteX9" fmla="*/ 11531190 w 12252288"/>
              <a:gd name="connsiteY9" fmla="*/ 525827 h 6891912"/>
              <a:gd name="connsiteX10" fmla="*/ 11546504 w 12252288"/>
              <a:gd name="connsiteY10" fmla="*/ 525827 h 6891912"/>
              <a:gd name="connsiteX11" fmla="*/ 11555440 w 12252288"/>
              <a:gd name="connsiteY11" fmla="*/ 528380 h 6891912"/>
              <a:gd name="connsiteX12" fmla="*/ 11559268 w 12252288"/>
              <a:gd name="connsiteY12" fmla="*/ 536038 h 6891912"/>
              <a:gd name="connsiteX13" fmla="*/ 11559268 w 12252288"/>
              <a:gd name="connsiteY13" fmla="*/ 537314 h 6891912"/>
              <a:gd name="connsiteX14" fmla="*/ 11555440 w 12252288"/>
              <a:gd name="connsiteY14" fmla="*/ 544972 h 6891912"/>
              <a:gd name="connsiteX15" fmla="*/ 11546504 w 12252288"/>
              <a:gd name="connsiteY15" fmla="*/ 547524 h 6891912"/>
              <a:gd name="connsiteX16" fmla="*/ 11531190 w 12252288"/>
              <a:gd name="connsiteY16" fmla="*/ 547524 h 6891912"/>
              <a:gd name="connsiteX17" fmla="*/ 11851536 w 12252288"/>
              <a:gd name="connsiteY17" fmla="*/ 515617 h 6891912"/>
              <a:gd name="connsiteX18" fmla="*/ 11863024 w 12252288"/>
              <a:gd name="connsiteY18" fmla="*/ 519446 h 6891912"/>
              <a:gd name="connsiteX19" fmla="*/ 11866852 w 12252288"/>
              <a:gd name="connsiteY19" fmla="*/ 530932 h 6891912"/>
              <a:gd name="connsiteX20" fmla="*/ 11866852 w 12252288"/>
              <a:gd name="connsiteY20" fmla="*/ 532209 h 6891912"/>
              <a:gd name="connsiteX21" fmla="*/ 11863024 w 12252288"/>
              <a:gd name="connsiteY21" fmla="*/ 543695 h 6891912"/>
              <a:gd name="connsiteX22" fmla="*/ 11851536 w 12252288"/>
              <a:gd name="connsiteY22" fmla="*/ 547524 h 6891912"/>
              <a:gd name="connsiteX23" fmla="*/ 11840050 w 12252288"/>
              <a:gd name="connsiteY23" fmla="*/ 543695 h 6891912"/>
              <a:gd name="connsiteX24" fmla="*/ 11836220 w 12252288"/>
              <a:gd name="connsiteY24" fmla="*/ 532209 h 6891912"/>
              <a:gd name="connsiteX25" fmla="*/ 11836220 w 12252288"/>
              <a:gd name="connsiteY25" fmla="*/ 530932 h 6891912"/>
              <a:gd name="connsiteX26" fmla="*/ 11840050 w 12252288"/>
              <a:gd name="connsiteY26" fmla="*/ 519446 h 6891912"/>
              <a:gd name="connsiteX27" fmla="*/ 11851536 w 12252288"/>
              <a:gd name="connsiteY27" fmla="*/ 515617 h 6891912"/>
              <a:gd name="connsiteX28" fmla="*/ 11657542 w 12252288"/>
              <a:gd name="connsiteY28" fmla="*/ 515617 h 6891912"/>
              <a:gd name="connsiteX29" fmla="*/ 11669028 w 12252288"/>
              <a:gd name="connsiteY29" fmla="*/ 519446 h 6891912"/>
              <a:gd name="connsiteX30" fmla="*/ 11672856 w 12252288"/>
              <a:gd name="connsiteY30" fmla="*/ 530932 h 6891912"/>
              <a:gd name="connsiteX31" fmla="*/ 11672856 w 12252288"/>
              <a:gd name="connsiteY31" fmla="*/ 532209 h 6891912"/>
              <a:gd name="connsiteX32" fmla="*/ 11669028 w 12252288"/>
              <a:gd name="connsiteY32" fmla="*/ 543695 h 6891912"/>
              <a:gd name="connsiteX33" fmla="*/ 11657542 w 12252288"/>
              <a:gd name="connsiteY33" fmla="*/ 547524 h 6891912"/>
              <a:gd name="connsiteX34" fmla="*/ 11646056 w 12252288"/>
              <a:gd name="connsiteY34" fmla="*/ 543695 h 6891912"/>
              <a:gd name="connsiteX35" fmla="*/ 11642226 w 12252288"/>
              <a:gd name="connsiteY35" fmla="*/ 532209 h 6891912"/>
              <a:gd name="connsiteX36" fmla="*/ 11642226 w 12252288"/>
              <a:gd name="connsiteY36" fmla="*/ 530932 h 6891912"/>
              <a:gd name="connsiteX37" fmla="*/ 11646056 w 12252288"/>
              <a:gd name="connsiteY37" fmla="*/ 519446 h 6891912"/>
              <a:gd name="connsiteX38" fmla="*/ 11657542 w 12252288"/>
              <a:gd name="connsiteY38" fmla="*/ 515617 h 6891912"/>
              <a:gd name="connsiteX39" fmla="*/ 11113846 w 12252288"/>
              <a:gd name="connsiteY39" fmla="*/ 515617 h 6891912"/>
              <a:gd name="connsiteX40" fmla="*/ 11125332 w 12252288"/>
              <a:gd name="connsiteY40" fmla="*/ 519446 h 6891912"/>
              <a:gd name="connsiteX41" fmla="*/ 11129162 w 12252288"/>
              <a:gd name="connsiteY41" fmla="*/ 532209 h 6891912"/>
              <a:gd name="connsiteX42" fmla="*/ 11129162 w 12252288"/>
              <a:gd name="connsiteY42" fmla="*/ 533485 h 6891912"/>
              <a:gd name="connsiteX43" fmla="*/ 11125332 w 12252288"/>
              <a:gd name="connsiteY43" fmla="*/ 546248 h 6891912"/>
              <a:gd name="connsiteX44" fmla="*/ 11113846 w 12252288"/>
              <a:gd name="connsiteY44" fmla="*/ 550077 h 6891912"/>
              <a:gd name="connsiteX45" fmla="*/ 11102360 w 12252288"/>
              <a:gd name="connsiteY45" fmla="*/ 546248 h 6891912"/>
              <a:gd name="connsiteX46" fmla="*/ 11098532 w 12252288"/>
              <a:gd name="connsiteY46" fmla="*/ 533485 h 6891912"/>
              <a:gd name="connsiteX47" fmla="*/ 11098532 w 12252288"/>
              <a:gd name="connsiteY47" fmla="*/ 532209 h 6891912"/>
              <a:gd name="connsiteX48" fmla="*/ 11102360 w 12252288"/>
              <a:gd name="connsiteY48" fmla="*/ 519446 h 6891912"/>
              <a:gd name="connsiteX49" fmla="*/ 11113846 w 12252288"/>
              <a:gd name="connsiteY49" fmla="*/ 515617 h 6891912"/>
              <a:gd name="connsiteX50" fmla="*/ 10951758 w 12252288"/>
              <a:gd name="connsiteY50" fmla="*/ 515617 h 6891912"/>
              <a:gd name="connsiteX51" fmla="*/ 10963244 w 12252288"/>
              <a:gd name="connsiteY51" fmla="*/ 519446 h 6891912"/>
              <a:gd name="connsiteX52" fmla="*/ 10967074 w 12252288"/>
              <a:gd name="connsiteY52" fmla="*/ 532209 h 6891912"/>
              <a:gd name="connsiteX53" fmla="*/ 10967074 w 12252288"/>
              <a:gd name="connsiteY53" fmla="*/ 533485 h 6891912"/>
              <a:gd name="connsiteX54" fmla="*/ 10963244 w 12252288"/>
              <a:gd name="connsiteY54" fmla="*/ 546248 h 6891912"/>
              <a:gd name="connsiteX55" fmla="*/ 10951758 w 12252288"/>
              <a:gd name="connsiteY55" fmla="*/ 550077 h 6891912"/>
              <a:gd name="connsiteX56" fmla="*/ 10940272 w 12252288"/>
              <a:gd name="connsiteY56" fmla="*/ 546248 h 6891912"/>
              <a:gd name="connsiteX57" fmla="*/ 10936444 w 12252288"/>
              <a:gd name="connsiteY57" fmla="*/ 533485 h 6891912"/>
              <a:gd name="connsiteX58" fmla="*/ 10936444 w 12252288"/>
              <a:gd name="connsiteY58" fmla="*/ 532209 h 6891912"/>
              <a:gd name="connsiteX59" fmla="*/ 10940272 w 12252288"/>
              <a:gd name="connsiteY59" fmla="*/ 519446 h 6891912"/>
              <a:gd name="connsiteX60" fmla="*/ 10951758 w 12252288"/>
              <a:gd name="connsiteY60" fmla="*/ 515617 h 6891912"/>
              <a:gd name="connsiteX61" fmla="*/ 10868800 w 12252288"/>
              <a:gd name="connsiteY61" fmla="*/ 515617 h 6891912"/>
              <a:gd name="connsiteX62" fmla="*/ 10880288 w 12252288"/>
              <a:gd name="connsiteY62" fmla="*/ 519446 h 6891912"/>
              <a:gd name="connsiteX63" fmla="*/ 10884116 w 12252288"/>
              <a:gd name="connsiteY63" fmla="*/ 530932 h 6891912"/>
              <a:gd name="connsiteX64" fmla="*/ 10884116 w 12252288"/>
              <a:gd name="connsiteY64" fmla="*/ 532209 h 6891912"/>
              <a:gd name="connsiteX65" fmla="*/ 10880288 w 12252288"/>
              <a:gd name="connsiteY65" fmla="*/ 543695 h 6891912"/>
              <a:gd name="connsiteX66" fmla="*/ 10868800 w 12252288"/>
              <a:gd name="connsiteY66" fmla="*/ 547524 h 6891912"/>
              <a:gd name="connsiteX67" fmla="*/ 10857314 w 12252288"/>
              <a:gd name="connsiteY67" fmla="*/ 543695 h 6891912"/>
              <a:gd name="connsiteX68" fmla="*/ 10853484 w 12252288"/>
              <a:gd name="connsiteY68" fmla="*/ 532209 h 6891912"/>
              <a:gd name="connsiteX69" fmla="*/ 10853484 w 12252288"/>
              <a:gd name="connsiteY69" fmla="*/ 530932 h 6891912"/>
              <a:gd name="connsiteX70" fmla="*/ 10857314 w 12252288"/>
              <a:gd name="connsiteY70" fmla="*/ 519446 h 6891912"/>
              <a:gd name="connsiteX71" fmla="*/ 10868800 w 12252288"/>
              <a:gd name="connsiteY71" fmla="*/ 515617 h 6891912"/>
              <a:gd name="connsiteX72" fmla="*/ 10031560 w 12252288"/>
              <a:gd name="connsiteY72" fmla="*/ 515617 h 6891912"/>
              <a:gd name="connsiteX73" fmla="*/ 10043048 w 12252288"/>
              <a:gd name="connsiteY73" fmla="*/ 519446 h 6891912"/>
              <a:gd name="connsiteX74" fmla="*/ 10046876 w 12252288"/>
              <a:gd name="connsiteY74" fmla="*/ 532209 h 6891912"/>
              <a:gd name="connsiteX75" fmla="*/ 10046876 w 12252288"/>
              <a:gd name="connsiteY75" fmla="*/ 533485 h 6891912"/>
              <a:gd name="connsiteX76" fmla="*/ 10043048 w 12252288"/>
              <a:gd name="connsiteY76" fmla="*/ 546248 h 6891912"/>
              <a:gd name="connsiteX77" fmla="*/ 10031560 w 12252288"/>
              <a:gd name="connsiteY77" fmla="*/ 550077 h 6891912"/>
              <a:gd name="connsiteX78" fmla="*/ 10020074 w 12252288"/>
              <a:gd name="connsiteY78" fmla="*/ 546248 h 6891912"/>
              <a:gd name="connsiteX79" fmla="*/ 10016244 w 12252288"/>
              <a:gd name="connsiteY79" fmla="*/ 533485 h 6891912"/>
              <a:gd name="connsiteX80" fmla="*/ 10016244 w 12252288"/>
              <a:gd name="connsiteY80" fmla="*/ 532209 h 6891912"/>
              <a:gd name="connsiteX81" fmla="*/ 10020074 w 12252288"/>
              <a:gd name="connsiteY81" fmla="*/ 519446 h 6891912"/>
              <a:gd name="connsiteX82" fmla="*/ 10031560 w 12252288"/>
              <a:gd name="connsiteY82" fmla="*/ 515617 h 6891912"/>
              <a:gd name="connsiteX83" fmla="*/ 11910244 w 12252288"/>
              <a:gd name="connsiteY83" fmla="*/ 514341 h 6891912"/>
              <a:gd name="connsiteX84" fmla="*/ 11920456 w 12252288"/>
              <a:gd name="connsiteY84" fmla="*/ 518170 h 6891912"/>
              <a:gd name="connsiteX85" fmla="*/ 11924284 w 12252288"/>
              <a:gd name="connsiteY85" fmla="*/ 528380 h 6891912"/>
              <a:gd name="connsiteX86" fmla="*/ 11894930 w 12252288"/>
              <a:gd name="connsiteY86" fmla="*/ 528380 h 6891912"/>
              <a:gd name="connsiteX87" fmla="*/ 11900036 w 12252288"/>
              <a:gd name="connsiteY87" fmla="*/ 518170 h 6891912"/>
              <a:gd name="connsiteX88" fmla="*/ 11910244 w 12252288"/>
              <a:gd name="connsiteY88" fmla="*/ 514341 h 6891912"/>
              <a:gd name="connsiteX89" fmla="*/ 11381864 w 12252288"/>
              <a:gd name="connsiteY89" fmla="*/ 514341 h 6891912"/>
              <a:gd name="connsiteX90" fmla="*/ 11392076 w 12252288"/>
              <a:gd name="connsiteY90" fmla="*/ 518170 h 6891912"/>
              <a:gd name="connsiteX91" fmla="*/ 11395904 w 12252288"/>
              <a:gd name="connsiteY91" fmla="*/ 528380 h 6891912"/>
              <a:gd name="connsiteX92" fmla="*/ 11366548 w 12252288"/>
              <a:gd name="connsiteY92" fmla="*/ 528380 h 6891912"/>
              <a:gd name="connsiteX93" fmla="*/ 11371656 w 12252288"/>
              <a:gd name="connsiteY93" fmla="*/ 518170 h 6891912"/>
              <a:gd name="connsiteX94" fmla="*/ 11381864 w 12252288"/>
              <a:gd name="connsiteY94" fmla="*/ 514341 h 6891912"/>
              <a:gd name="connsiteX95" fmla="*/ 11256790 w 12252288"/>
              <a:gd name="connsiteY95" fmla="*/ 514341 h 6891912"/>
              <a:gd name="connsiteX96" fmla="*/ 11267000 w 12252288"/>
              <a:gd name="connsiteY96" fmla="*/ 518170 h 6891912"/>
              <a:gd name="connsiteX97" fmla="*/ 11270828 w 12252288"/>
              <a:gd name="connsiteY97" fmla="*/ 528380 h 6891912"/>
              <a:gd name="connsiteX98" fmla="*/ 11241474 w 12252288"/>
              <a:gd name="connsiteY98" fmla="*/ 528380 h 6891912"/>
              <a:gd name="connsiteX99" fmla="*/ 11246580 w 12252288"/>
              <a:gd name="connsiteY99" fmla="*/ 518170 h 6891912"/>
              <a:gd name="connsiteX100" fmla="*/ 11256790 w 12252288"/>
              <a:gd name="connsiteY100" fmla="*/ 514341 h 6891912"/>
              <a:gd name="connsiteX101" fmla="*/ 11007916 w 12252288"/>
              <a:gd name="connsiteY101" fmla="*/ 514341 h 6891912"/>
              <a:gd name="connsiteX102" fmla="*/ 11018124 w 12252288"/>
              <a:gd name="connsiteY102" fmla="*/ 518170 h 6891912"/>
              <a:gd name="connsiteX103" fmla="*/ 11021954 w 12252288"/>
              <a:gd name="connsiteY103" fmla="*/ 528380 h 6891912"/>
              <a:gd name="connsiteX104" fmla="*/ 10992600 w 12252288"/>
              <a:gd name="connsiteY104" fmla="*/ 528380 h 6891912"/>
              <a:gd name="connsiteX105" fmla="*/ 10997704 w 12252288"/>
              <a:gd name="connsiteY105" fmla="*/ 518170 h 6891912"/>
              <a:gd name="connsiteX106" fmla="*/ 11007916 w 12252288"/>
              <a:gd name="connsiteY106" fmla="*/ 514341 h 6891912"/>
              <a:gd name="connsiteX107" fmla="*/ 10780736 w 12252288"/>
              <a:gd name="connsiteY107" fmla="*/ 514341 h 6891912"/>
              <a:gd name="connsiteX108" fmla="*/ 10790948 w 12252288"/>
              <a:gd name="connsiteY108" fmla="*/ 518170 h 6891912"/>
              <a:gd name="connsiteX109" fmla="*/ 10794776 w 12252288"/>
              <a:gd name="connsiteY109" fmla="*/ 528380 h 6891912"/>
              <a:gd name="connsiteX110" fmla="*/ 10765422 w 12252288"/>
              <a:gd name="connsiteY110" fmla="*/ 528380 h 6891912"/>
              <a:gd name="connsiteX111" fmla="*/ 10770528 w 12252288"/>
              <a:gd name="connsiteY111" fmla="*/ 518170 h 6891912"/>
              <a:gd name="connsiteX112" fmla="*/ 10780736 w 12252288"/>
              <a:gd name="connsiteY112" fmla="*/ 514341 h 6891912"/>
              <a:gd name="connsiteX113" fmla="*/ 10557388 w 12252288"/>
              <a:gd name="connsiteY113" fmla="*/ 514341 h 6891912"/>
              <a:gd name="connsiteX114" fmla="*/ 10568874 w 12252288"/>
              <a:gd name="connsiteY114" fmla="*/ 519446 h 6891912"/>
              <a:gd name="connsiteX115" fmla="*/ 10572704 w 12252288"/>
              <a:gd name="connsiteY115" fmla="*/ 532209 h 6891912"/>
              <a:gd name="connsiteX116" fmla="*/ 10572704 w 12252288"/>
              <a:gd name="connsiteY116" fmla="*/ 533485 h 6891912"/>
              <a:gd name="connsiteX117" fmla="*/ 10568874 w 12252288"/>
              <a:gd name="connsiteY117" fmla="*/ 546248 h 6891912"/>
              <a:gd name="connsiteX118" fmla="*/ 10557388 w 12252288"/>
              <a:gd name="connsiteY118" fmla="*/ 550077 h 6891912"/>
              <a:gd name="connsiteX119" fmla="*/ 10545900 w 12252288"/>
              <a:gd name="connsiteY119" fmla="*/ 546248 h 6891912"/>
              <a:gd name="connsiteX120" fmla="*/ 10542072 w 12252288"/>
              <a:gd name="connsiteY120" fmla="*/ 533485 h 6891912"/>
              <a:gd name="connsiteX121" fmla="*/ 10542072 w 12252288"/>
              <a:gd name="connsiteY121" fmla="*/ 532209 h 6891912"/>
              <a:gd name="connsiteX122" fmla="*/ 10545900 w 12252288"/>
              <a:gd name="connsiteY122" fmla="*/ 519446 h 6891912"/>
              <a:gd name="connsiteX123" fmla="*/ 10557388 w 12252288"/>
              <a:gd name="connsiteY123" fmla="*/ 514341 h 6891912"/>
              <a:gd name="connsiteX124" fmla="*/ 10406788 w 12252288"/>
              <a:gd name="connsiteY124" fmla="*/ 514341 h 6891912"/>
              <a:gd name="connsiteX125" fmla="*/ 10416998 w 12252288"/>
              <a:gd name="connsiteY125" fmla="*/ 518170 h 6891912"/>
              <a:gd name="connsiteX126" fmla="*/ 10420826 w 12252288"/>
              <a:gd name="connsiteY126" fmla="*/ 528380 h 6891912"/>
              <a:gd name="connsiteX127" fmla="*/ 10391472 w 12252288"/>
              <a:gd name="connsiteY127" fmla="*/ 528380 h 6891912"/>
              <a:gd name="connsiteX128" fmla="*/ 10396576 w 12252288"/>
              <a:gd name="connsiteY128" fmla="*/ 518170 h 6891912"/>
              <a:gd name="connsiteX129" fmla="*/ 10406788 w 12252288"/>
              <a:gd name="connsiteY129" fmla="*/ 514341 h 6891912"/>
              <a:gd name="connsiteX130" fmla="*/ 10256186 w 12252288"/>
              <a:gd name="connsiteY130" fmla="*/ 514341 h 6891912"/>
              <a:gd name="connsiteX131" fmla="*/ 10266396 w 12252288"/>
              <a:gd name="connsiteY131" fmla="*/ 518170 h 6891912"/>
              <a:gd name="connsiteX132" fmla="*/ 10270224 w 12252288"/>
              <a:gd name="connsiteY132" fmla="*/ 528380 h 6891912"/>
              <a:gd name="connsiteX133" fmla="*/ 10240872 w 12252288"/>
              <a:gd name="connsiteY133" fmla="*/ 528380 h 6891912"/>
              <a:gd name="connsiteX134" fmla="*/ 10245976 w 12252288"/>
              <a:gd name="connsiteY134" fmla="*/ 518170 h 6891912"/>
              <a:gd name="connsiteX135" fmla="*/ 10256186 w 12252288"/>
              <a:gd name="connsiteY135" fmla="*/ 514341 h 6891912"/>
              <a:gd name="connsiteX136" fmla="*/ 10090268 w 12252288"/>
              <a:gd name="connsiteY136" fmla="*/ 514341 h 6891912"/>
              <a:gd name="connsiteX137" fmla="*/ 10100480 w 12252288"/>
              <a:gd name="connsiteY137" fmla="*/ 518170 h 6891912"/>
              <a:gd name="connsiteX138" fmla="*/ 10104308 w 12252288"/>
              <a:gd name="connsiteY138" fmla="*/ 528380 h 6891912"/>
              <a:gd name="connsiteX139" fmla="*/ 10074956 w 12252288"/>
              <a:gd name="connsiteY139" fmla="*/ 528380 h 6891912"/>
              <a:gd name="connsiteX140" fmla="*/ 10080060 w 12252288"/>
              <a:gd name="connsiteY140" fmla="*/ 518170 h 6891912"/>
              <a:gd name="connsiteX141" fmla="*/ 10090268 w 12252288"/>
              <a:gd name="connsiteY141" fmla="*/ 514341 h 6891912"/>
              <a:gd name="connsiteX142" fmla="*/ 11579688 w 12252288"/>
              <a:gd name="connsiteY142" fmla="*/ 510512 h 6891912"/>
              <a:gd name="connsiteX143" fmla="*/ 11579688 w 12252288"/>
              <a:gd name="connsiteY143" fmla="*/ 538590 h 6891912"/>
              <a:gd name="connsiteX144" fmla="*/ 11582240 w 12252288"/>
              <a:gd name="connsiteY144" fmla="*/ 548800 h 6891912"/>
              <a:gd name="connsiteX145" fmla="*/ 11588622 w 12252288"/>
              <a:gd name="connsiteY145" fmla="*/ 555182 h 6891912"/>
              <a:gd name="connsiteX146" fmla="*/ 11597556 w 12252288"/>
              <a:gd name="connsiteY146" fmla="*/ 557734 h 6891912"/>
              <a:gd name="connsiteX147" fmla="*/ 11605214 w 12252288"/>
              <a:gd name="connsiteY147" fmla="*/ 556458 h 6891912"/>
              <a:gd name="connsiteX148" fmla="*/ 11610320 w 12252288"/>
              <a:gd name="connsiteY148" fmla="*/ 553906 h 6891912"/>
              <a:gd name="connsiteX149" fmla="*/ 11612872 w 12252288"/>
              <a:gd name="connsiteY149" fmla="*/ 550077 h 6891912"/>
              <a:gd name="connsiteX150" fmla="*/ 11614148 w 12252288"/>
              <a:gd name="connsiteY150" fmla="*/ 550077 h 6891912"/>
              <a:gd name="connsiteX151" fmla="*/ 11614148 w 12252288"/>
              <a:gd name="connsiteY151" fmla="*/ 566668 h 6891912"/>
              <a:gd name="connsiteX152" fmla="*/ 11611596 w 12252288"/>
              <a:gd name="connsiteY152" fmla="*/ 569221 h 6891912"/>
              <a:gd name="connsiteX153" fmla="*/ 11584794 w 12252288"/>
              <a:gd name="connsiteY153" fmla="*/ 569221 h 6891912"/>
              <a:gd name="connsiteX154" fmla="*/ 11584794 w 12252288"/>
              <a:gd name="connsiteY154" fmla="*/ 574326 h 6891912"/>
              <a:gd name="connsiteX155" fmla="*/ 11584794 w 12252288"/>
              <a:gd name="connsiteY155" fmla="*/ 575602 h 6891912"/>
              <a:gd name="connsiteX156" fmla="*/ 11612872 w 12252288"/>
              <a:gd name="connsiteY156" fmla="*/ 575602 h 6891912"/>
              <a:gd name="connsiteX157" fmla="*/ 11619252 w 12252288"/>
              <a:gd name="connsiteY157" fmla="*/ 573050 h 6891912"/>
              <a:gd name="connsiteX158" fmla="*/ 11621804 w 12252288"/>
              <a:gd name="connsiteY158" fmla="*/ 567945 h 6891912"/>
              <a:gd name="connsiteX159" fmla="*/ 11621804 w 12252288"/>
              <a:gd name="connsiteY159" fmla="*/ 510512 h 6891912"/>
              <a:gd name="connsiteX160" fmla="*/ 11620528 w 12252288"/>
              <a:gd name="connsiteY160" fmla="*/ 510512 h 6891912"/>
              <a:gd name="connsiteX161" fmla="*/ 11614148 w 12252288"/>
              <a:gd name="connsiteY161" fmla="*/ 510512 h 6891912"/>
              <a:gd name="connsiteX162" fmla="*/ 11614148 w 12252288"/>
              <a:gd name="connsiteY162" fmla="*/ 533485 h 6891912"/>
              <a:gd name="connsiteX163" fmla="*/ 11610320 w 12252288"/>
              <a:gd name="connsiteY163" fmla="*/ 546248 h 6891912"/>
              <a:gd name="connsiteX164" fmla="*/ 11600108 w 12252288"/>
              <a:gd name="connsiteY164" fmla="*/ 550077 h 6891912"/>
              <a:gd name="connsiteX165" fmla="*/ 11591176 w 12252288"/>
              <a:gd name="connsiteY165" fmla="*/ 547524 h 6891912"/>
              <a:gd name="connsiteX166" fmla="*/ 11587346 w 12252288"/>
              <a:gd name="connsiteY166" fmla="*/ 537314 h 6891912"/>
              <a:gd name="connsiteX167" fmla="*/ 11587346 w 12252288"/>
              <a:gd name="connsiteY167" fmla="*/ 510512 h 6891912"/>
              <a:gd name="connsiteX168" fmla="*/ 11943428 w 12252288"/>
              <a:gd name="connsiteY168" fmla="*/ 509236 h 6891912"/>
              <a:gd name="connsiteX169" fmla="*/ 11943428 w 12252288"/>
              <a:gd name="connsiteY169" fmla="*/ 555182 h 6891912"/>
              <a:gd name="connsiteX170" fmla="*/ 11951086 w 12252288"/>
              <a:gd name="connsiteY170" fmla="*/ 555182 h 6891912"/>
              <a:gd name="connsiteX171" fmla="*/ 11951086 w 12252288"/>
              <a:gd name="connsiteY171" fmla="*/ 527104 h 6891912"/>
              <a:gd name="connsiteX172" fmla="*/ 11953638 w 12252288"/>
              <a:gd name="connsiteY172" fmla="*/ 518170 h 6891912"/>
              <a:gd name="connsiteX173" fmla="*/ 11961296 w 12252288"/>
              <a:gd name="connsiteY173" fmla="*/ 515617 h 6891912"/>
              <a:gd name="connsiteX174" fmla="*/ 11966400 w 12252288"/>
              <a:gd name="connsiteY174" fmla="*/ 515617 h 6891912"/>
              <a:gd name="connsiteX175" fmla="*/ 11966400 w 12252288"/>
              <a:gd name="connsiteY175" fmla="*/ 509236 h 6891912"/>
              <a:gd name="connsiteX176" fmla="*/ 11962572 w 12252288"/>
              <a:gd name="connsiteY176" fmla="*/ 509236 h 6891912"/>
              <a:gd name="connsiteX177" fmla="*/ 11956192 w 12252288"/>
              <a:gd name="connsiteY177" fmla="*/ 510512 h 6891912"/>
              <a:gd name="connsiteX178" fmla="*/ 11952362 w 12252288"/>
              <a:gd name="connsiteY178" fmla="*/ 514341 h 6891912"/>
              <a:gd name="connsiteX179" fmla="*/ 11951086 w 12252288"/>
              <a:gd name="connsiteY179" fmla="*/ 514341 h 6891912"/>
              <a:gd name="connsiteX180" fmla="*/ 11951086 w 12252288"/>
              <a:gd name="connsiteY180" fmla="*/ 509236 h 6891912"/>
              <a:gd name="connsiteX181" fmla="*/ 11911520 w 12252288"/>
              <a:gd name="connsiteY181" fmla="*/ 509236 h 6891912"/>
              <a:gd name="connsiteX182" fmla="*/ 11900036 w 12252288"/>
              <a:gd name="connsiteY182" fmla="*/ 511788 h 6891912"/>
              <a:gd name="connsiteX183" fmla="*/ 11892376 w 12252288"/>
              <a:gd name="connsiteY183" fmla="*/ 520722 h 6891912"/>
              <a:gd name="connsiteX184" fmla="*/ 11889824 w 12252288"/>
              <a:gd name="connsiteY184" fmla="*/ 533485 h 6891912"/>
              <a:gd name="connsiteX185" fmla="*/ 11889824 w 12252288"/>
              <a:gd name="connsiteY185" fmla="*/ 534761 h 6891912"/>
              <a:gd name="connsiteX186" fmla="*/ 11892376 w 12252288"/>
              <a:gd name="connsiteY186" fmla="*/ 546248 h 6891912"/>
              <a:gd name="connsiteX187" fmla="*/ 11900036 w 12252288"/>
              <a:gd name="connsiteY187" fmla="*/ 555182 h 6891912"/>
              <a:gd name="connsiteX188" fmla="*/ 11911520 w 12252288"/>
              <a:gd name="connsiteY188" fmla="*/ 557734 h 6891912"/>
              <a:gd name="connsiteX189" fmla="*/ 11921732 w 12252288"/>
              <a:gd name="connsiteY189" fmla="*/ 555182 h 6891912"/>
              <a:gd name="connsiteX190" fmla="*/ 11928112 w 12252288"/>
              <a:gd name="connsiteY190" fmla="*/ 550077 h 6891912"/>
              <a:gd name="connsiteX191" fmla="*/ 11931942 w 12252288"/>
              <a:gd name="connsiteY191" fmla="*/ 544972 h 6891912"/>
              <a:gd name="connsiteX192" fmla="*/ 11925560 w 12252288"/>
              <a:gd name="connsiteY192" fmla="*/ 542419 h 6891912"/>
              <a:gd name="connsiteX193" fmla="*/ 11920456 w 12252288"/>
              <a:gd name="connsiteY193" fmla="*/ 548800 h 6891912"/>
              <a:gd name="connsiteX194" fmla="*/ 11911520 w 12252288"/>
              <a:gd name="connsiteY194" fmla="*/ 551353 h 6891912"/>
              <a:gd name="connsiteX195" fmla="*/ 11900036 w 12252288"/>
              <a:gd name="connsiteY195" fmla="*/ 547524 h 6891912"/>
              <a:gd name="connsiteX196" fmla="*/ 11894930 w 12252288"/>
              <a:gd name="connsiteY196" fmla="*/ 536038 h 6891912"/>
              <a:gd name="connsiteX197" fmla="*/ 11933218 w 12252288"/>
              <a:gd name="connsiteY197" fmla="*/ 536038 h 6891912"/>
              <a:gd name="connsiteX198" fmla="*/ 11933218 w 12252288"/>
              <a:gd name="connsiteY198" fmla="*/ 530932 h 6891912"/>
              <a:gd name="connsiteX199" fmla="*/ 11930664 w 12252288"/>
              <a:gd name="connsiteY199" fmla="*/ 519446 h 6891912"/>
              <a:gd name="connsiteX200" fmla="*/ 11923008 w 12252288"/>
              <a:gd name="connsiteY200" fmla="*/ 511788 h 6891912"/>
              <a:gd name="connsiteX201" fmla="*/ 11911520 w 12252288"/>
              <a:gd name="connsiteY201" fmla="*/ 509236 h 6891912"/>
              <a:gd name="connsiteX202" fmla="*/ 11750710 w 12252288"/>
              <a:gd name="connsiteY202" fmla="*/ 509236 h 6891912"/>
              <a:gd name="connsiteX203" fmla="*/ 11750710 w 12252288"/>
              <a:gd name="connsiteY203" fmla="*/ 555182 h 6891912"/>
              <a:gd name="connsiteX204" fmla="*/ 11758368 w 12252288"/>
              <a:gd name="connsiteY204" fmla="*/ 555182 h 6891912"/>
              <a:gd name="connsiteX205" fmla="*/ 11758368 w 12252288"/>
              <a:gd name="connsiteY205" fmla="*/ 509236 h 6891912"/>
              <a:gd name="connsiteX206" fmla="*/ 11472480 w 12252288"/>
              <a:gd name="connsiteY206" fmla="*/ 509236 h 6891912"/>
              <a:gd name="connsiteX207" fmla="*/ 11472480 w 12252288"/>
              <a:gd name="connsiteY207" fmla="*/ 555182 h 6891912"/>
              <a:gd name="connsiteX208" fmla="*/ 11480140 w 12252288"/>
              <a:gd name="connsiteY208" fmla="*/ 555182 h 6891912"/>
              <a:gd name="connsiteX209" fmla="*/ 11480140 w 12252288"/>
              <a:gd name="connsiteY209" fmla="*/ 509236 h 6891912"/>
              <a:gd name="connsiteX210" fmla="*/ 11415048 w 12252288"/>
              <a:gd name="connsiteY210" fmla="*/ 509236 h 6891912"/>
              <a:gd name="connsiteX211" fmla="*/ 11415048 w 12252288"/>
              <a:gd name="connsiteY211" fmla="*/ 555182 h 6891912"/>
              <a:gd name="connsiteX212" fmla="*/ 11422706 w 12252288"/>
              <a:gd name="connsiteY212" fmla="*/ 555182 h 6891912"/>
              <a:gd name="connsiteX213" fmla="*/ 11422706 w 12252288"/>
              <a:gd name="connsiteY213" fmla="*/ 527104 h 6891912"/>
              <a:gd name="connsiteX214" fmla="*/ 11425260 w 12252288"/>
              <a:gd name="connsiteY214" fmla="*/ 518170 h 6891912"/>
              <a:gd name="connsiteX215" fmla="*/ 11432916 w 12252288"/>
              <a:gd name="connsiteY215" fmla="*/ 515617 h 6891912"/>
              <a:gd name="connsiteX216" fmla="*/ 11438022 w 12252288"/>
              <a:gd name="connsiteY216" fmla="*/ 515617 h 6891912"/>
              <a:gd name="connsiteX217" fmla="*/ 11438022 w 12252288"/>
              <a:gd name="connsiteY217" fmla="*/ 509236 h 6891912"/>
              <a:gd name="connsiteX218" fmla="*/ 11434192 w 12252288"/>
              <a:gd name="connsiteY218" fmla="*/ 509236 h 6891912"/>
              <a:gd name="connsiteX219" fmla="*/ 11427812 w 12252288"/>
              <a:gd name="connsiteY219" fmla="*/ 510512 h 6891912"/>
              <a:gd name="connsiteX220" fmla="*/ 11423982 w 12252288"/>
              <a:gd name="connsiteY220" fmla="*/ 514341 h 6891912"/>
              <a:gd name="connsiteX221" fmla="*/ 11422706 w 12252288"/>
              <a:gd name="connsiteY221" fmla="*/ 514341 h 6891912"/>
              <a:gd name="connsiteX222" fmla="*/ 11422706 w 12252288"/>
              <a:gd name="connsiteY222" fmla="*/ 509236 h 6891912"/>
              <a:gd name="connsiteX223" fmla="*/ 11381864 w 12252288"/>
              <a:gd name="connsiteY223" fmla="*/ 509236 h 6891912"/>
              <a:gd name="connsiteX224" fmla="*/ 11370380 w 12252288"/>
              <a:gd name="connsiteY224" fmla="*/ 511788 h 6891912"/>
              <a:gd name="connsiteX225" fmla="*/ 11362720 w 12252288"/>
              <a:gd name="connsiteY225" fmla="*/ 520722 h 6891912"/>
              <a:gd name="connsiteX226" fmla="*/ 11360168 w 12252288"/>
              <a:gd name="connsiteY226" fmla="*/ 533485 h 6891912"/>
              <a:gd name="connsiteX227" fmla="*/ 11360168 w 12252288"/>
              <a:gd name="connsiteY227" fmla="*/ 534761 h 6891912"/>
              <a:gd name="connsiteX228" fmla="*/ 11362720 w 12252288"/>
              <a:gd name="connsiteY228" fmla="*/ 546248 h 6891912"/>
              <a:gd name="connsiteX229" fmla="*/ 11370380 w 12252288"/>
              <a:gd name="connsiteY229" fmla="*/ 555182 h 6891912"/>
              <a:gd name="connsiteX230" fmla="*/ 11381864 w 12252288"/>
              <a:gd name="connsiteY230" fmla="*/ 557734 h 6891912"/>
              <a:gd name="connsiteX231" fmla="*/ 11392076 w 12252288"/>
              <a:gd name="connsiteY231" fmla="*/ 555182 h 6891912"/>
              <a:gd name="connsiteX232" fmla="*/ 11398456 w 12252288"/>
              <a:gd name="connsiteY232" fmla="*/ 550077 h 6891912"/>
              <a:gd name="connsiteX233" fmla="*/ 11402286 w 12252288"/>
              <a:gd name="connsiteY233" fmla="*/ 544972 h 6891912"/>
              <a:gd name="connsiteX234" fmla="*/ 11395904 w 12252288"/>
              <a:gd name="connsiteY234" fmla="*/ 542419 h 6891912"/>
              <a:gd name="connsiteX235" fmla="*/ 11390800 w 12252288"/>
              <a:gd name="connsiteY235" fmla="*/ 548800 h 6891912"/>
              <a:gd name="connsiteX236" fmla="*/ 11381864 w 12252288"/>
              <a:gd name="connsiteY236" fmla="*/ 551353 h 6891912"/>
              <a:gd name="connsiteX237" fmla="*/ 11370380 w 12252288"/>
              <a:gd name="connsiteY237" fmla="*/ 547524 h 6891912"/>
              <a:gd name="connsiteX238" fmla="*/ 11365272 w 12252288"/>
              <a:gd name="connsiteY238" fmla="*/ 536038 h 6891912"/>
              <a:gd name="connsiteX239" fmla="*/ 11403562 w 12252288"/>
              <a:gd name="connsiteY239" fmla="*/ 536038 h 6891912"/>
              <a:gd name="connsiteX240" fmla="*/ 11403562 w 12252288"/>
              <a:gd name="connsiteY240" fmla="*/ 530932 h 6891912"/>
              <a:gd name="connsiteX241" fmla="*/ 11401008 w 12252288"/>
              <a:gd name="connsiteY241" fmla="*/ 519446 h 6891912"/>
              <a:gd name="connsiteX242" fmla="*/ 11393352 w 12252288"/>
              <a:gd name="connsiteY242" fmla="*/ 511788 h 6891912"/>
              <a:gd name="connsiteX243" fmla="*/ 11381864 w 12252288"/>
              <a:gd name="connsiteY243" fmla="*/ 509236 h 6891912"/>
              <a:gd name="connsiteX244" fmla="*/ 11258066 w 12252288"/>
              <a:gd name="connsiteY244" fmla="*/ 509236 h 6891912"/>
              <a:gd name="connsiteX245" fmla="*/ 11246580 w 12252288"/>
              <a:gd name="connsiteY245" fmla="*/ 511788 h 6891912"/>
              <a:gd name="connsiteX246" fmla="*/ 11238920 w 12252288"/>
              <a:gd name="connsiteY246" fmla="*/ 520722 h 6891912"/>
              <a:gd name="connsiteX247" fmla="*/ 11236368 w 12252288"/>
              <a:gd name="connsiteY247" fmla="*/ 533485 h 6891912"/>
              <a:gd name="connsiteX248" fmla="*/ 11236368 w 12252288"/>
              <a:gd name="connsiteY248" fmla="*/ 534761 h 6891912"/>
              <a:gd name="connsiteX249" fmla="*/ 11238920 w 12252288"/>
              <a:gd name="connsiteY249" fmla="*/ 546248 h 6891912"/>
              <a:gd name="connsiteX250" fmla="*/ 11246580 w 12252288"/>
              <a:gd name="connsiteY250" fmla="*/ 555182 h 6891912"/>
              <a:gd name="connsiteX251" fmla="*/ 11258066 w 12252288"/>
              <a:gd name="connsiteY251" fmla="*/ 557734 h 6891912"/>
              <a:gd name="connsiteX252" fmla="*/ 11268276 w 12252288"/>
              <a:gd name="connsiteY252" fmla="*/ 555182 h 6891912"/>
              <a:gd name="connsiteX253" fmla="*/ 11274658 w 12252288"/>
              <a:gd name="connsiteY253" fmla="*/ 550077 h 6891912"/>
              <a:gd name="connsiteX254" fmla="*/ 11278488 w 12252288"/>
              <a:gd name="connsiteY254" fmla="*/ 544972 h 6891912"/>
              <a:gd name="connsiteX255" fmla="*/ 11272104 w 12252288"/>
              <a:gd name="connsiteY255" fmla="*/ 542419 h 6891912"/>
              <a:gd name="connsiteX256" fmla="*/ 11267000 w 12252288"/>
              <a:gd name="connsiteY256" fmla="*/ 548800 h 6891912"/>
              <a:gd name="connsiteX257" fmla="*/ 11258066 w 12252288"/>
              <a:gd name="connsiteY257" fmla="*/ 551353 h 6891912"/>
              <a:gd name="connsiteX258" fmla="*/ 11246580 w 12252288"/>
              <a:gd name="connsiteY258" fmla="*/ 547524 h 6891912"/>
              <a:gd name="connsiteX259" fmla="*/ 11241474 w 12252288"/>
              <a:gd name="connsiteY259" fmla="*/ 536038 h 6891912"/>
              <a:gd name="connsiteX260" fmla="*/ 11279762 w 12252288"/>
              <a:gd name="connsiteY260" fmla="*/ 536038 h 6891912"/>
              <a:gd name="connsiteX261" fmla="*/ 11279762 w 12252288"/>
              <a:gd name="connsiteY261" fmla="*/ 530932 h 6891912"/>
              <a:gd name="connsiteX262" fmla="*/ 11277210 w 12252288"/>
              <a:gd name="connsiteY262" fmla="*/ 519446 h 6891912"/>
              <a:gd name="connsiteX263" fmla="*/ 11269552 w 12252288"/>
              <a:gd name="connsiteY263" fmla="*/ 511788 h 6891912"/>
              <a:gd name="connsiteX264" fmla="*/ 11258066 w 12252288"/>
              <a:gd name="connsiteY264" fmla="*/ 509236 h 6891912"/>
              <a:gd name="connsiteX265" fmla="*/ 11203186 w 12252288"/>
              <a:gd name="connsiteY265" fmla="*/ 509236 h 6891912"/>
              <a:gd name="connsiteX266" fmla="*/ 11203186 w 12252288"/>
              <a:gd name="connsiteY266" fmla="*/ 555182 h 6891912"/>
              <a:gd name="connsiteX267" fmla="*/ 11210844 w 12252288"/>
              <a:gd name="connsiteY267" fmla="*/ 555182 h 6891912"/>
              <a:gd name="connsiteX268" fmla="*/ 11210844 w 12252288"/>
              <a:gd name="connsiteY268" fmla="*/ 527104 h 6891912"/>
              <a:gd name="connsiteX269" fmla="*/ 11213396 w 12252288"/>
              <a:gd name="connsiteY269" fmla="*/ 518170 h 6891912"/>
              <a:gd name="connsiteX270" fmla="*/ 11221054 w 12252288"/>
              <a:gd name="connsiteY270" fmla="*/ 515617 h 6891912"/>
              <a:gd name="connsiteX271" fmla="*/ 11226160 w 12252288"/>
              <a:gd name="connsiteY271" fmla="*/ 515617 h 6891912"/>
              <a:gd name="connsiteX272" fmla="*/ 11226160 w 12252288"/>
              <a:gd name="connsiteY272" fmla="*/ 509236 h 6891912"/>
              <a:gd name="connsiteX273" fmla="*/ 11222330 w 12252288"/>
              <a:gd name="connsiteY273" fmla="*/ 509236 h 6891912"/>
              <a:gd name="connsiteX274" fmla="*/ 11215948 w 12252288"/>
              <a:gd name="connsiteY274" fmla="*/ 510512 h 6891912"/>
              <a:gd name="connsiteX275" fmla="*/ 11212120 w 12252288"/>
              <a:gd name="connsiteY275" fmla="*/ 514341 h 6891912"/>
              <a:gd name="connsiteX276" fmla="*/ 11210844 w 12252288"/>
              <a:gd name="connsiteY276" fmla="*/ 514341 h 6891912"/>
              <a:gd name="connsiteX277" fmla="*/ 11210844 w 12252288"/>
              <a:gd name="connsiteY277" fmla="*/ 509236 h 6891912"/>
              <a:gd name="connsiteX278" fmla="*/ 11168726 w 12252288"/>
              <a:gd name="connsiteY278" fmla="*/ 509236 h 6891912"/>
              <a:gd name="connsiteX279" fmla="*/ 11158516 w 12252288"/>
              <a:gd name="connsiteY279" fmla="*/ 511788 h 6891912"/>
              <a:gd name="connsiteX280" fmla="*/ 11152134 w 12252288"/>
              <a:gd name="connsiteY280" fmla="*/ 516893 h 6891912"/>
              <a:gd name="connsiteX281" fmla="*/ 11148306 w 12252288"/>
              <a:gd name="connsiteY281" fmla="*/ 524551 h 6891912"/>
              <a:gd name="connsiteX282" fmla="*/ 11155964 w 12252288"/>
              <a:gd name="connsiteY282" fmla="*/ 527104 h 6891912"/>
              <a:gd name="connsiteX283" fmla="*/ 11159792 w 12252288"/>
              <a:gd name="connsiteY283" fmla="*/ 519446 h 6891912"/>
              <a:gd name="connsiteX284" fmla="*/ 11168726 w 12252288"/>
              <a:gd name="connsiteY284" fmla="*/ 516893 h 6891912"/>
              <a:gd name="connsiteX285" fmla="*/ 11177660 w 12252288"/>
              <a:gd name="connsiteY285" fmla="*/ 519446 h 6891912"/>
              <a:gd name="connsiteX286" fmla="*/ 11180212 w 12252288"/>
              <a:gd name="connsiteY286" fmla="*/ 527104 h 6891912"/>
              <a:gd name="connsiteX287" fmla="*/ 11180212 w 12252288"/>
              <a:gd name="connsiteY287" fmla="*/ 530932 h 6891912"/>
              <a:gd name="connsiteX288" fmla="*/ 11164896 w 12252288"/>
              <a:gd name="connsiteY288" fmla="*/ 530932 h 6891912"/>
              <a:gd name="connsiteX289" fmla="*/ 11155964 w 12252288"/>
              <a:gd name="connsiteY289" fmla="*/ 532209 h 6891912"/>
              <a:gd name="connsiteX290" fmla="*/ 11149582 w 12252288"/>
              <a:gd name="connsiteY290" fmla="*/ 536038 h 6891912"/>
              <a:gd name="connsiteX291" fmla="*/ 11147030 w 12252288"/>
              <a:gd name="connsiteY291" fmla="*/ 543695 h 6891912"/>
              <a:gd name="connsiteX292" fmla="*/ 11149582 w 12252288"/>
              <a:gd name="connsiteY292" fmla="*/ 551353 h 6891912"/>
              <a:gd name="connsiteX293" fmla="*/ 11155964 w 12252288"/>
              <a:gd name="connsiteY293" fmla="*/ 556458 h 6891912"/>
              <a:gd name="connsiteX294" fmla="*/ 11164896 w 12252288"/>
              <a:gd name="connsiteY294" fmla="*/ 557734 h 6891912"/>
              <a:gd name="connsiteX295" fmla="*/ 11172556 w 12252288"/>
              <a:gd name="connsiteY295" fmla="*/ 555182 h 6891912"/>
              <a:gd name="connsiteX296" fmla="*/ 11177660 w 12252288"/>
              <a:gd name="connsiteY296" fmla="*/ 552629 h 6891912"/>
              <a:gd name="connsiteX297" fmla="*/ 11180212 w 12252288"/>
              <a:gd name="connsiteY297" fmla="*/ 548800 h 6891912"/>
              <a:gd name="connsiteX298" fmla="*/ 11181488 w 12252288"/>
              <a:gd name="connsiteY298" fmla="*/ 548800 h 6891912"/>
              <a:gd name="connsiteX299" fmla="*/ 11184040 w 12252288"/>
              <a:gd name="connsiteY299" fmla="*/ 553906 h 6891912"/>
              <a:gd name="connsiteX300" fmla="*/ 11189148 w 12252288"/>
              <a:gd name="connsiteY300" fmla="*/ 555182 h 6891912"/>
              <a:gd name="connsiteX301" fmla="*/ 11195528 w 12252288"/>
              <a:gd name="connsiteY301" fmla="*/ 555182 h 6891912"/>
              <a:gd name="connsiteX302" fmla="*/ 11195528 w 12252288"/>
              <a:gd name="connsiteY302" fmla="*/ 548800 h 6891912"/>
              <a:gd name="connsiteX303" fmla="*/ 11194252 w 12252288"/>
              <a:gd name="connsiteY303" fmla="*/ 548800 h 6891912"/>
              <a:gd name="connsiteX304" fmla="*/ 11190424 w 12252288"/>
              <a:gd name="connsiteY304" fmla="*/ 548800 h 6891912"/>
              <a:gd name="connsiteX305" fmla="*/ 11187870 w 12252288"/>
              <a:gd name="connsiteY305" fmla="*/ 546248 h 6891912"/>
              <a:gd name="connsiteX306" fmla="*/ 11187870 w 12252288"/>
              <a:gd name="connsiteY306" fmla="*/ 525827 h 6891912"/>
              <a:gd name="connsiteX307" fmla="*/ 11182766 w 12252288"/>
              <a:gd name="connsiteY307" fmla="*/ 513065 h 6891912"/>
              <a:gd name="connsiteX308" fmla="*/ 11168726 w 12252288"/>
              <a:gd name="connsiteY308" fmla="*/ 509236 h 6891912"/>
              <a:gd name="connsiteX309" fmla="*/ 11117676 w 12252288"/>
              <a:gd name="connsiteY309" fmla="*/ 509236 h 6891912"/>
              <a:gd name="connsiteX310" fmla="*/ 11106188 w 12252288"/>
              <a:gd name="connsiteY310" fmla="*/ 511788 h 6891912"/>
              <a:gd name="connsiteX311" fmla="*/ 11101084 w 12252288"/>
              <a:gd name="connsiteY311" fmla="*/ 518170 h 6891912"/>
              <a:gd name="connsiteX312" fmla="*/ 11099808 w 12252288"/>
              <a:gd name="connsiteY312" fmla="*/ 518170 h 6891912"/>
              <a:gd name="connsiteX313" fmla="*/ 11099808 w 12252288"/>
              <a:gd name="connsiteY313" fmla="*/ 510512 h 6891912"/>
              <a:gd name="connsiteX314" fmla="*/ 11090872 w 12252288"/>
              <a:gd name="connsiteY314" fmla="*/ 510512 h 6891912"/>
              <a:gd name="connsiteX315" fmla="*/ 11090872 w 12252288"/>
              <a:gd name="connsiteY315" fmla="*/ 574326 h 6891912"/>
              <a:gd name="connsiteX316" fmla="*/ 11098532 w 12252288"/>
              <a:gd name="connsiteY316" fmla="*/ 574326 h 6891912"/>
              <a:gd name="connsiteX317" fmla="*/ 11098532 w 12252288"/>
              <a:gd name="connsiteY317" fmla="*/ 547524 h 6891912"/>
              <a:gd name="connsiteX318" fmla="*/ 11099808 w 12252288"/>
              <a:gd name="connsiteY318" fmla="*/ 547524 h 6891912"/>
              <a:gd name="connsiteX319" fmla="*/ 11102360 w 12252288"/>
              <a:gd name="connsiteY319" fmla="*/ 551353 h 6891912"/>
              <a:gd name="connsiteX320" fmla="*/ 11107464 w 12252288"/>
              <a:gd name="connsiteY320" fmla="*/ 553906 h 6891912"/>
              <a:gd name="connsiteX321" fmla="*/ 11115124 w 12252288"/>
              <a:gd name="connsiteY321" fmla="*/ 555182 h 6891912"/>
              <a:gd name="connsiteX322" fmla="*/ 11125332 w 12252288"/>
              <a:gd name="connsiteY322" fmla="*/ 552629 h 6891912"/>
              <a:gd name="connsiteX323" fmla="*/ 11132990 w 12252288"/>
              <a:gd name="connsiteY323" fmla="*/ 544972 h 6891912"/>
              <a:gd name="connsiteX324" fmla="*/ 11135544 w 12252288"/>
              <a:gd name="connsiteY324" fmla="*/ 532209 h 6891912"/>
              <a:gd name="connsiteX325" fmla="*/ 11138096 w 12252288"/>
              <a:gd name="connsiteY325" fmla="*/ 532209 h 6891912"/>
              <a:gd name="connsiteX326" fmla="*/ 11135544 w 12252288"/>
              <a:gd name="connsiteY326" fmla="*/ 519446 h 6891912"/>
              <a:gd name="connsiteX327" fmla="*/ 11127886 w 12252288"/>
              <a:gd name="connsiteY327" fmla="*/ 511788 h 6891912"/>
              <a:gd name="connsiteX328" fmla="*/ 11117676 w 12252288"/>
              <a:gd name="connsiteY328" fmla="*/ 509236 h 6891912"/>
              <a:gd name="connsiteX329" fmla="*/ 11009192 w 12252288"/>
              <a:gd name="connsiteY329" fmla="*/ 509236 h 6891912"/>
              <a:gd name="connsiteX330" fmla="*/ 10997704 w 12252288"/>
              <a:gd name="connsiteY330" fmla="*/ 511788 h 6891912"/>
              <a:gd name="connsiteX331" fmla="*/ 10990048 w 12252288"/>
              <a:gd name="connsiteY331" fmla="*/ 520722 h 6891912"/>
              <a:gd name="connsiteX332" fmla="*/ 10987496 w 12252288"/>
              <a:gd name="connsiteY332" fmla="*/ 533485 h 6891912"/>
              <a:gd name="connsiteX333" fmla="*/ 10987496 w 12252288"/>
              <a:gd name="connsiteY333" fmla="*/ 534761 h 6891912"/>
              <a:gd name="connsiteX334" fmla="*/ 10990048 w 12252288"/>
              <a:gd name="connsiteY334" fmla="*/ 546248 h 6891912"/>
              <a:gd name="connsiteX335" fmla="*/ 10997704 w 12252288"/>
              <a:gd name="connsiteY335" fmla="*/ 555182 h 6891912"/>
              <a:gd name="connsiteX336" fmla="*/ 11009192 w 12252288"/>
              <a:gd name="connsiteY336" fmla="*/ 557734 h 6891912"/>
              <a:gd name="connsiteX337" fmla="*/ 11019402 w 12252288"/>
              <a:gd name="connsiteY337" fmla="*/ 555182 h 6891912"/>
              <a:gd name="connsiteX338" fmla="*/ 11025784 w 12252288"/>
              <a:gd name="connsiteY338" fmla="*/ 550077 h 6891912"/>
              <a:gd name="connsiteX339" fmla="*/ 11029612 w 12252288"/>
              <a:gd name="connsiteY339" fmla="*/ 544972 h 6891912"/>
              <a:gd name="connsiteX340" fmla="*/ 11023232 w 12252288"/>
              <a:gd name="connsiteY340" fmla="*/ 542419 h 6891912"/>
              <a:gd name="connsiteX341" fmla="*/ 11018124 w 12252288"/>
              <a:gd name="connsiteY341" fmla="*/ 548800 h 6891912"/>
              <a:gd name="connsiteX342" fmla="*/ 11009192 w 12252288"/>
              <a:gd name="connsiteY342" fmla="*/ 551353 h 6891912"/>
              <a:gd name="connsiteX343" fmla="*/ 10997704 w 12252288"/>
              <a:gd name="connsiteY343" fmla="*/ 547524 h 6891912"/>
              <a:gd name="connsiteX344" fmla="*/ 10992600 w 12252288"/>
              <a:gd name="connsiteY344" fmla="*/ 536038 h 6891912"/>
              <a:gd name="connsiteX345" fmla="*/ 11030888 w 12252288"/>
              <a:gd name="connsiteY345" fmla="*/ 536038 h 6891912"/>
              <a:gd name="connsiteX346" fmla="*/ 11030888 w 12252288"/>
              <a:gd name="connsiteY346" fmla="*/ 530932 h 6891912"/>
              <a:gd name="connsiteX347" fmla="*/ 11028336 w 12252288"/>
              <a:gd name="connsiteY347" fmla="*/ 519446 h 6891912"/>
              <a:gd name="connsiteX348" fmla="*/ 11020678 w 12252288"/>
              <a:gd name="connsiteY348" fmla="*/ 511788 h 6891912"/>
              <a:gd name="connsiteX349" fmla="*/ 11009192 w 12252288"/>
              <a:gd name="connsiteY349" fmla="*/ 509236 h 6891912"/>
              <a:gd name="connsiteX350" fmla="*/ 10905812 w 12252288"/>
              <a:gd name="connsiteY350" fmla="*/ 509236 h 6891912"/>
              <a:gd name="connsiteX351" fmla="*/ 10905812 w 12252288"/>
              <a:gd name="connsiteY351" fmla="*/ 555182 h 6891912"/>
              <a:gd name="connsiteX352" fmla="*/ 10913470 w 12252288"/>
              <a:gd name="connsiteY352" fmla="*/ 555182 h 6891912"/>
              <a:gd name="connsiteX353" fmla="*/ 10913470 w 12252288"/>
              <a:gd name="connsiteY353" fmla="*/ 509236 h 6891912"/>
              <a:gd name="connsiteX354" fmla="*/ 10813920 w 12252288"/>
              <a:gd name="connsiteY354" fmla="*/ 509236 h 6891912"/>
              <a:gd name="connsiteX355" fmla="*/ 10813920 w 12252288"/>
              <a:gd name="connsiteY355" fmla="*/ 555182 h 6891912"/>
              <a:gd name="connsiteX356" fmla="*/ 10821578 w 12252288"/>
              <a:gd name="connsiteY356" fmla="*/ 555182 h 6891912"/>
              <a:gd name="connsiteX357" fmla="*/ 10821578 w 12252288"/>
              <a:gd name="connsiteY357" fmla="*/ 527104 h 6891912"/>
              <a:gd name="connsiteX358" fmla="*/ 10824130 w 12252288"/>
              <a:gd name="connsiteY358" fmla="*/ 518170 h 6891912"/>
              <a:gd name="connsiteX359" fmla="*/ 10831788 w 12252288"/>
              <a:gd name="connsiteY359" fmla="*/ 515617 h 6891912"/>
              <a:gd name="connsiteX360" fmla="*/ 10836892 w 12252288"/>
              <a:gd name="connsiteY360" fmla="*/ 515617 h 6891912"/>
              <a:gd name="connsiteX361" fmla="*/ 10836892 w 12252288"/>
              <a:gd name="connsiteY361" fmla="*/ 509236 h 6891912"/>
              <a:gd name="connsiteX362" fmla="*/ 10833064 w 12252288"/>
              <a:gd name="connsiteY362" fmla="*/ 509236 h 6891912"/>
              <a:gd name="connsiteX363" fmla="*/ 10826684 w 12252288"/>
              <a:gd name="connsiteY363" fmla="*/ 510512 h 6891912"/>
              <a:gd name="connsiteX364" fmla="*/ 10822854 w 12252288"/>
              <a:gd name="connsiteY364" fmla="*/ 514341 h 6891912"/>
              <a:gd name="connsiteX365" fmla="*/ 10821578 w 12252288"/>
              <a:gd name="connsiteY365" fmla="*/ 514341 h 6891912"/>
              <a:gd name="connsiteX366" fmla="*/ 10821578 w 12252288"/>
              <a:gd name="connsiteY366" fmla="*/ 509236 h 6891912"/>
              <a:gd name="connsiteX367" fmla="*/ 10780736 w 12252288"/>
              <a:gd name="connsiteY367" fmla="*/ 509236 h 6891912"/>
              <a:gd name="connsiteX368" fmla="*/ 10769250 w 12252288"/>
              <a:gd name="connsiteY368" fmla="*/ 511788 h 6891912"/>
              <a:gd name="connsiteX369" fmla="*/ 10761592 w 12252288"/>
              <a:gd name="connsiteY369" fmla="*/ 520722 h 6891912"/>
              <a:gd name="connsiteX370" fmla="*/ 10759040 w 12252288"/>
              <a:gd name="connsiteY370" fmla="*/ 533485 h 6891912"/>
              <a:gd name="connsiteX371" fmla="*/ 10759040 w 12252288"/>
              <a:gd name="connsiteY371" fmla="*/ 534761 h 6891912"/>
              <a:gd name="connsiteX372" fmla="*/ 10761592 w 12252288"/>
              <a:gd name="connsiteY372" fmla="*/ 546248 h 6891912"/>
              <a:gd name="connsiteX373" fmla="*/ 10769250 w 12252288"/>
              <a:gd name="connsiteY373" fmla="*/ 555182 h 6891912"/>
              <a:gd name="connsiteX374" fmla="*/ 10780736 w 12252288"/>
              <a:gd name="connsiteY374" fmla="*/ 557734 h 6891912"/>
              <a:gd name="connsiteX375" fmla="*/ 10790948 w 12252288"/>
              <a:gd name="connsiteY375" fmla="*/ 555182 h 6891912"/>
              <a:gd name="connsiteX376" fmla="*/ 10797328 w 12252288"/>
              <a:gd name="connsiteY376" fmla="*/ 550077 h 6891912"/>
              <a:gd name="connsiteX377" fmla="*/ 10801156 w 12252288"/>
              <a:gd name="connsiteY377" fmla="*/ 544972 h 6891912"/>
              <a:gd name="connsiteX378" fmla="*/ 10794776 w 12252288"/>
              <a:gd name="connsiteY378" fmla="*/ 542419 h 6891912"/>
              <a:gd name="connsiteX379" fmla="*/ 10789672 w 12252288"/>
              <a:gd name="connsiteY379" fmla="*/ 548800 h 6891912"/>
              <a:gd name="connsiteX380" fmla="*/ 10780736 w 12252288"/>
              <a:gd name="connsiteY380" fmla="*/ 551353 h 6891912"/>
              <a:gd name="connsiteX381" fmla="*/ 10769250 w 12252288"/>
              <a:gd name="connsiteY381" fmla="*/ 547524 h 6891912"/>
              <a:gd name="connsiteX382" fmla="*/ 10764146 w 12252288"/>
              <a:gd name="connsiteY382" fmla="*/ 536038 h 6891912"/>
              <a:gd name="connsiteX383" fmla="*/ 10802434 w 12252288"/>
              <a:gd name="connsiteY383" fmla="*/ 536038 h 6891912"/>
              <a:gd name="connsiteX384" fmla="*/ 10802434 w 12252288"/>
              <a:gd name="connsiteY384" fmla="*/ 530932 h 6891912"/>
              <a:gd name="connsiteX385" fmla="*/ 10799882 w 12252288"/>
              <a:gd name="connsiteY385" fmla="*/ 519446 h 6891912"/>
              <a:gd name="connsiteX386" fmla="*/ 10792224 w 12252288"/>
              <a:gd name="connsiteY386" fmla="*/ 511788 h 6891912"/>
              <a:gd name="connsiteX387" fmla="*/ 10780736 w 12252288"/>
              <a:gd name="connsiteY387" fmla="*/ 509236 h 6891912"/>
              <a:gd name="connsiteX388" fmla="*/ 10593124 w 12252288"/>
              <a:gd name="connsiteY388" fmla="*/ 509236 h 6891912"/>
              <a:gd name="connsiteX389" fmla="*/ 10593124 w 12252288"/>
              <a:gd name="connsiteY389" fmla="*/ 555182 h 6891912"/>
              <a:gd name="connsiteX390" fmla="*/ 10600780 w 12252288"/>
              <a:gd name="connsiteY390" fmla="*/ 555182 h 6891912"/>
              <a:gd name="connsiteX391" fmla="*/ 10600780 w 12252288"/>
              <a:gd name="connsiteY391" fmla="*/ 527104 h 6891912"/>
              <a:gd name="connsiteX392" fmla="*/ 10603334 w 12252288"/>
              <a:gd name="connsiteY392" fmla="*/ 518170 h 6891912"/>
              <a:gd name="connsiteX393" fmla="*/ 10610992 w 12252288"/>
              <a:gd name="connsiteY393" fmla="*/ 515617 h 6891912"/>
              <a:gd name="connsiteX394" fmla="*/ 10616096 w 12252288"/>
              <a:gd name="connsiteY394" fmla="*/ 515617 h 6891912"/>
              <a:gd name="connsiteX395" fmla="*/ 10616096 w 12252288"/>
              <a:gd name="connsiteY395" fmla="*/ 509236 h 6891912"/>
              <a:gd name="connsiteX396" fmla="*/ 10612268 w 12252288"/>
              <a:gd name="connsiteY396" fmla="*/ 509236 h 6891912"/>
              <a:gd name="connsiteX397" fmla="*/ 10605888 w 12252288"/>
              <a:gd name="connsiteY397" fmla="*/ 510512 h 6891912"/>
              <a:gd name="connsiteX398" fmla="*/ 10602058 w 12252288"/>
              <a:gd name="connsiteY398" fmla="*/ 514341 h 6891912"/>
              <a:gd name="connsiteX399" fmla="*/ 10600780 w 12252288"/>
              <a:gd name="connsiteY399" fmla="*/ 514341 h 6891912"/>
              <a:gd name="connsiteX400" fmla="*/ 10600780 w 12252288"/>
              <a:gd name="connsiteY400" fmla="*/ 509236 h 6891912"/>
              <a:gd name="connsiteX401" fmla="*/ 10441246 w 12252288"/>
              <a:gd name="connsiteY401" fmla="*/ 509236 h 6891912"/>
              <a:gd name="connsiteX402" fmla="*/ 10441246 w 12252288"/>
              <a:gd name="connsiteY402" fmla="*/ 555182 h 6891912"/>
              <a:gd name="connsiteX403" fmla="*/ 10448904 w 12252288"/>
              <a:gd name="connsiteY403" fmla="*/ 555182 h 6891912"/>
              <a:gd name="connsiteX404" fmla="*/ 10448904 w 12252288"/>
              <a:gd name="connsiteY404" fmla="*/ 527104 h 6891912"/>
              <a:gd name="connsiteX405" fmla="*/ 10451456 w 12252288"/>
              <a:gd name="connsiteY405" fmla="*/ 518170 h 6891912"/>
              <a:gd name="connsiteX406" fmla="*/ 10459116 w 12252288"/>
              <a:gd name="connsiteY406" fmla="*/ 515617 h 6891912"/>
              <a:gd name="connsiteX407" fmla="*/ 10464220 w 12252288"/>
              <a:gd name="connsiteY407" fmla="*/ 515617 h 6891912"/>
              <a:gd name="connsiteX408" fmla="*/ 10464220 w 12252288"/>
              <a:gd name="connsiteY408" fmla="*/ 509236 h 6891912"/>
              <a:gd name="connsiteX409" fmla="*/ 10460392 w 12252288"/>
              <a:gd name="connsiteY409" fmla="*/ 509236 h 6891912"/>
              <a:gd name="connsiteX410" fmla="*/ 10454008 w 12252288"/>
              <a:gd name="connsiteY410" fmla="*/ 510512 h 6891912"/>
              <a:gd name="connsiteX411" fmla="*/ 10450180 w 12252288"/>
              <a:gd name="connsiteY411" fmla="*/ 514341 h 6891912"/>
              <a:gd name="connsiteX412" fmla="*/ 10448904 w 12252288"/>
              <a:gd name="connsiteY412" fmla="*/ 514341 h 6891912"/>
              <a:gd name="connsiteX413" fmla="*/ 10448904 w 12252288"/>
              <a:gd name="connsiteY413" fmla="*/ 509236 h 6891912"/>
              <a:gd name="connsiteX414" fmla="*/ 10406788 w 12252288"/>
              <a:gd name="connsiteY414" fmla="*/ 509236 h 6891912"/>
              <a:gd name="connsiteX415" fmla="*/ 10395300 w 12252288"/>
              <a:gd name="connsiteY415" fmla="*/ 511788 h 6891912"/>
              <a:gd name="connsiteX416" fmla="*/ 10387644 w 12252288"/>
              <a:gd name="connsiteY416" fmla="*/ 520722 h 6891912"/>
              <a:gd name="connsiteX417" fmla="*/ 10385092 w 12252288"/>
              <a:gd name="connsiteY417" fmla="*/ 533485 h 6891912"/>
              <a:gd name="connsiteX418" fmla="*/ 10385092 w 12252288"/>
              <a:gd name="connsiteY418" fmla="*/ 534761 h 6891912"/>
              <a:gd name="connsiteX419" fmla="*/ 10387644 w 12252288"/>
              <a:gd name="connsiteY419" fmla="*/ 546248 h 6891912"/>
              <a:gd name="connsiteX420" fmla="*/ 10395300 w 12252288"/>
              <a:gd name="connsiteY420" fmla="*/ 555182 h 6891912"/>
              <a:gd name="connsiteX421" fmla="*/ 10406788 w 12252288"/>
              <a:gd name="connsiteY421" fmla="*/ 557734 h 6891912"/>
              <a:gd name="connsiteX422" fmla="*/ 10416998 w 12252288"/>
              <a:gd name="connsiteY422" fmla="*/ 555182 h 6891912"/>
              <a:gd name="connsiteX423" fmla="*/ 10423380 w 12252288"/>
              <a:gd name="connsiteY423" fmla="*/ 550077 h 6891912"/>
              <a:gd name="connsiteX424" fmla="*/ 10427208 w 12252288"/>
              <a:gd name="connsiteY424" fmla="*/ 544972 h 6891912"/>
              <a:gd name="connsiteX425" fmla="*/ 10420826 w 12252288"/>
              <a:gd name="connsiteY425" fmla="*/ 542419 h 6891912"/>
              <a:gd name="connsiteX426" fmla="*/ 10415720 w 12252288"/>
              <a:gd name="connsiteY426" fmla="*/ 548800 h 6891912"/>
              <a:gd name="connsiteX427" fmla="*/ 10406788 w 12252288"/>
              <a:gd name="connsiteY427" fmla="*/ 551353 h 6891912"/>
              <a:gd name="connsiteX428" fmla="*/ 10395300 w 12252288"/>
              <a:gd name="connsiteY428" fmla="*/ 547524 h 6891912"/>
              <a:gd name="connsiteX429" fmla="*/ 10390196 w 12252288"/>
              <a:gd name="connsiteY429" fmla="*/ 536038 h 6891912"/>
              <a:gd name="connsiteX430" fmla="*/ 10428484 w 12252288"/>
              <a:gd name="connsiteY430" fmla="*/ 536038 h 6891912"/>
              <a:gd name="connsiteX431" fmla="*/ 10428484 w 12252288"/>
              <a:gd name="connsiteY431" fmla="*/ 530932 h 6891912"/>
              <a:gd name="connsiteX432" fmla="*/ 10425932 w 12252288"/>
              <a:gd name="connsiteY432" fmla="*/ 519446 h 6891912"/>
              <a:gd name="connsiteX433" fmla="*/ 10418272 w 12252288"/>
              <a:gd name="connsiteY433" fmla="*/ 511788 h 6891912"/>
              <a:gd name="connsiteX434" fmla="*/ 10406788 w 12252288"/>
              <a:gd name="connsiteY434" fmla="*/ 509236 h 6891912"/>
              <a:gd name="connsiteX435" fmla="*/ 10257464 w 12252288"/>
              <a:gd name="connsiteY435" fmla="*/ 509236 h 6891912"/>
              <a:gd name="connsiteX436" fmla="*/ 10245976 w 12252288"/>
              <a:gd name="connsiteY436" fmla="*/ 511788 h 6891912"/>
              <a:gd name="connsiteX437" fmla="*/ 10238318 w 12252288"/>
              <a:gd name="connsiteY437" fmla="*/ 520722 h 6891912"/>
              <a:gd name="connsiteX438" fmla="*/ 10235766 w 12252288"/>
              <a:gd name="connsiteY438" fmla="*/ 533485 h 6891912"/>
              <a:gd name="connsiteX439" fmla="*/ 10235766 w 12252288"/>
              <a:gd name="connsiteY439" fmla="*/ 534761 h 6891912"/>
              <a:gd name="connsiteX440" fmla="*/ 10238318 w 12252288"/>
              <a:gd name="connsiteY440" fmla="*/ 546248 h 6891912"/>
              <a:gd name="connsiteX441" fmla="*/ 10245976 w 12252288"/>
              <a:gd name="connsiteY441" fmla="*/ 555182 h 6891912"/>
              <a:gd name="connsiteX442" fmla="*/ 10257464 w 12252288"/>
              <a:gd name="connsiteY442" fmla="*/ 557734 h 6891912"/>
              <a:gd name="connsiteX443" fmla="*/ 10267672 w 12252288"/>
              <a:gd name="connsiteY443" fmla="*/ 555182 h 6891912"/>
              <a:gd name="connsiteX444" fmla="*/ 10274054 w 12252288"/>
              <a:gd name="connsiteY444" fmla="*/ 550077 h 6891912"/>
              <a:gd name="connsiteX445" fmla="*/ 10277884 w 12252288"/>
              <a:gd name="connsiteY445" fmla="*/ 544972 h 6891912"/>
              <a:gd name="connsiteX446" fmla="*/ 10271500 w 12252288"/>
              <a:gd name="connsiteY446" fmla="*/ 542419 h 6891912"/>
              <a:gd name="connsiteX447" fmla="*/ 10266396 w 12252288"/>
              <a:gd name="connsiteY447" fmla="*/ 548800 h 6891912"/>
              <a:gd name="connsiteX448" fmla="*/ 10257464 w 12252288"/>
              <a:gd name="connsiteY448" fmla="*/ 551353 h 6891912"/>
              <a:gd name="connsiteX449" fmla="*/ 10245976 w 12252288"/>
              <a:gd name="connsiteY449" fmla="*/ 547524 h 6891912"/>
              <a:gd name="connsiteX450" fmla="*/ 10240872 w 12252288"/>
              <a:gd name="connsiteY450" fmla="*/ 536038 h 6891912"/>
              <a:gd name="connsiteX451" fmla="*/ 10279160 w 12252288"/>
              <a:gd name="connsiteY451" fmla="*/ 536038 h 6891912"/>
              <a:gd name="connsiteX452" fmla="*/ 10279160 w 12252288"/>
              <a:gd name="connsiteY452" fmla="*/ 530932 h 6891912"/>
              <a:gd name="connsiteX453" fmla="*/ 10276608 w 12252288"/>
              <a:gd name="connsiteY453" fmla="*/ 519446 h 6891912"/>
              <a:gd name="connsiteX454" fmla="*/ 10268948 w 12252288"/>
              <a:gd name="connsiteY454" fmla="*/ 511788 h 6891912"/>
              <a:gd name="connsiteX455" fmla="*/ 10257464 w 12252288"/>
              <a:gd name="connsiteY455" fmla="*/ 509236 h 6891912"/>
              <a:gd name="connsiteX456" fmla="*/ 10090268 w 12252288"/>
              <a:gd name="connsiteY456" fmla="*/ 509236 h 6891912"/>
              <a:gd name="connsiteX457" fmla="*/ 10078784 w 12252288"/>
              <a:gd name="connsiteY457" fmla="*/ 511788 h 6891912"/>
              <a:gd name="connsiteX458" fmla="*/ 10071124 w 12252288"/>
              <a:gd name="connsiteY458" fmla="*/ 520722 h 6891912"/>
              <a:gd name="connsiteX459" fmla="*/ 10068572 w 12252288"/>
              <a:gd name="connsiteY459" fmla="*/ 533485 h 6891912"/>
              <a:gd name="connsiteX460" fmla="*/ 10068572 w 12252288"/>
              <a:gd name="connsiteY460" fmla="*/ 534761 h 6891912"/>
              <a:gd name="connsiteX461" fmla="*/ 10071124 w 12252288"/>
              <a:gd name="connsiteY461" fmla="*/ 546248 h 6891912"/>
              <a:gd name="connsiteX462" fmla="*/ 10078784 w 12252288"/>
              <a:gd name="connsiteY462" fmla="*/ 555182 h 6891912"/>
              <a:gd name="connsiteX463" fmla="*/ 10090268 w 12252288"/>
              <a:gd name="connsiteY463" fmla="*/ 557734 h 6891912"/>
              <a:gd name="connsiteX464" fmla="*/ 10100480 w 12252288"/>
              <a:gd name="connsiteY464" fmla="*/ 555182 h 6891912"/>
              <a:gd name="connsiteX465" fmla="*/ 10106862 w 12252288"/>
              <a:gd name="connsiteY465" fmla="*/ 550077 h 6891912"/>
              <a:gd name="connsiteX466" fmla="*/ 10110690 w 12252288"/>
              <a:gd name="connsiteY466" fmla="*/ 544972 h 6891912"/>
              <a:gd name="connsiteX467" fmla="*/ 10104308 w 12252288"/>
              <a:gd name="connsiteY467" fmla="*/ 542419 h 6891912"/>
              <a:gd name="connsiteX468" fmla="*/ 10099204 w 12252288"/>
              <a:gd name="connsiteY468" fmla="*/ 548800 h 6891912"/>
              <a:gd name="connsiteX469" fmla="*/ 10090268 w 12252288"/>
              <a:gd name="connsiteY469" fmla="*/ 551353 h 6891912"/>
              <a:gd name="connsiteX470" fmla="*/ 10078784 w 12252288"/>
              <a:gd name="connsiteY470" fmla="*/ 547524 h 6891912"/>
              <a:gd name="connsiteX471" fmla="*/ 10073678 w 12252288"/>
              <a:gd name="connsiteY471" fmla="*/ 536038 h 6891912"/>
              <a:gd name="connsiteX472" fmla="*/ 10111966 w 12252288"/>
              <a:gd name="connsiteY472" fmla="*/ 536038 h 6891912"/>
              <a:gd name="connsiteX473" fmla="*/ 10111966 w 12252288"/>
              <a:gd name="connsiteY473" fmla="*/ 530932 h 6891912"/>
              <a:gd name="connsiteX474" fmla="*/ 10109414 w 12252288"/>
              <a:gd name="connsiteY474" fmla="*/ 519446 h 6891912"/>
              <a:gd name="connsiteX475" fmla="*/ 10101756 w 12252288"/>
              <a:gd name="connsiteY475" fmla="*/ 511788 h 6891912"/>
              <a:gd name="connsiteX476" fmla="*/ 10090268 w 12252288"/>
              <a:gd name="connsiteY476" fmla="*/ 509236 h 6891912"/>
              <a:gd name="connsiteX477" fmla="*/ 9988168 w 12252288"/>
              <a:gd name="connsiteY477" fmla="*/ 509236 h 6891912"/>
              <a:gd name="connsiteX478" fmla="*/ 9988168 w 12252288"/>
              <a:gd name="connsiteY478" fmla="*/ 555182 h 6891912"/>
              <a:gd name="connsiteX479" fmla="*/ 9995824 w 12252288"/>
              <a:gd name="connsiteY479" fmla="*/ 555182 h 6891912"/>
              <a:gd name="connsiteX480" fmla="*/ 9995824 w 12252288"/>
              <a:gd name="connsiteY480" fmla="*/ 509236 h 6891912"/>
              <a:gd name="connsiteX481" fmla="*/ 11848984 w 12252288"/>
              <a:gd name="connsiteY481" fmla="*/ 507959 h 6891912"/>
              <a:gd name="connsiteX482" fmla="*/ 11838772 w 12252288"/>
              <a:gd name="connsiteY482" fmla="*/ 510512 h 6891912"/>
              <a:gd name="connsiteX483" fmla="*/ 11831116 w 12252288"/>
              <a:gd name="connsiteY483" fmla="*/ 518170 h 6891912"/>
              <a:gd name="connsiteX484" fmla="*/ 11828564 w 12252288"/>
              <a:gd name="connsiteY484" fmla="*/ 529656 h 6891912"/>
              <a:gd name="connsiteX485" fmla="*/ 11828564 w 12252288"/>
              <a:gd name="connsiteY485" fmla="*/ 530932 h 6891912"/>
              <a:gd name="connsiteX486" fmla="*/ 11832392 w 12252288"/>
              <a:gd name="connsiteY486" fmla="*/ 544972 h 6891912"/>
              <a:gd name="connsiteX487" fmla="*/ 11840050 w 12252288"/>
              <a:gd name="connsiteY487" fmla="*/ 552629 h 6891912"/>
              <a:gd name="connsiteX488" fmla="*/ 11850260 w 12252288"/>
              <a:gd name="connsiteY488" fmla="*/ 555182 h 6891912"/>
              <a:gd name="connsiteX489" fmla="*/ 11857916 w 12252288"/>
              <a:gd name="connsiteY489" fmla="*/ 553906 h 6891912"/>
              <a:gd name="connsiteX490" fmla="*/ 11863024 w 12252288"/>
              <a:gd name="connsiteY490" fmla="*/ 550077 h 6891912"/>
              <a:gd name="connsiteX491" fmla="*/ 11865576 w 12252288"/>
              <a:gd name="connsiteY491" fmla="*/ 546248 h 6891912"/>
              <a:gd name="connsiteX492" fmla="*/ 11866852 w 12252288"/>
              <a:gd name="connsiteY492" fmla="*/ 546248 h 6891912"/>
              <a:gd name="connsiteX493" fmla="*/ 11866852 w 12252288"/>
              <a:gd name="connsiteY493" fmla="*/ 564116 h 6891912"/>
              <a:gd name="connsiteX494" fmla="*/ 11864300 w 12252288"/>
              <a:gd name="connsiteY494" fmla="*/ 566668 h 6891912"/>
              <a:gd name="connsiteX495" fmla="*/ 11834944 w 12252288"/>
              <a:gd name="connsiteY495" fmla="*/ 566668 h 6891912"/>
              <a:gd name="connsiteX496" fmla="*/ 11834944 w 12252288"/>
              <a:gd name="connsiteY496" fmla="*/ 574326 h 6891912"/>
              <a:gd name="connsiteX497" fmla="*/ 11865576 w 12252288"/>
              <a:gd name="connsiteY497" fmla="*/ 574326 h 6891912"/>
              <a:gd name="connsiteX498" fmla="*/ 11870680 w 12252288"/>
              <a:gd name="connsiteY498" fmla="*/ 571773 h 6891912"/>
              <a:gd name="connsiteX499" fmla="*/ 11873232 w 12252288"/>
              <a:gd name="connsiteY499" fmla="*/ 566668 h 6891912"/>
              <a:gd name="connsiteX500" fmla="*/ 11873232 w 12252288"/>
              <a:gd name="connsiteY500" fmla="*/ 509236 h 6891912"/>
              <a:gd name="connsiteX501" fmla="*/ 11866852 w 12252288"/>
              <a:gd name="connsiteY501" fmla="*/ 509236 h 6891912"/>
              <a:gd name="connsiteX502" fmla="*/ 11866852 w 12252288"/>
              <a:gd name="connsiteY502" fmla="*/ 516893 h 6891912"/>
              <a:gd name="connsiteX503" fmla="*/ 11865576 w 12252288"/>
              <a:gd name="connsiteY503" fmla="*/ 516893 h 6891912"/>
              <a:gd name="connsiteX504" fmla="*/ 11860470 w 12252288"/>
              <a:gd name="connsiteY504" fmla="*/ 510512 h 6891912"/>
              <a:gd name="connsiteX505" fmla="*/ 11848984 w 12252288"/>
              <a:gd name="connsiteY505" fmla="*/ 507959 h 6891912"/>
              <a:gd name="connsiteX506" fmla="*/ 11773684 w 12252288"/>
              <a:gd name="connsiteY506" fmla="*/ 507959 h 6891912"/>
              <a:gd name="connsiteX507" fmla="*/ 11773684 w 12252288"/>
              <a:gd name="connsiteY507" fmla="*/ 553906 h 6891912"/>
              <a:gd name="connsiteX508" fmla="*/ 11781340 w 12252288"/>
              <a:gd name="connsiteY508" fmla="*/ 553906 h 6891912"/>
              <a:gd name="connsiteX509" fmla="*/ 11781340 w 12252288"/>
              <a:gd name="connsiteY509" fmla="*/ 530932 h 6891912"/>
              <a:gd name="connsiteX510" fmla="*/ 11785170 w 12252288"/>
              <a:gd name="connsiteY510" fmla="*/ 518170 h 6891912"/>
              <a:gd name="connsiteX511" fmla="*/ 11795380 w 12252288"/>
              <a:gd name="connsiteY511" fmla="*/ 514341 h 6891912"/>
              <a:gd name="connsiteX512" fmla="*/ 11804314 w 12252288"/>
              <a:gd name="connsiteY512" fmla="*/ 516893 h 6891912"/>
              <a:gd name="connsiteX513" fmla="*/ 11808144 w 12252288"/>
              <a:gd name="connsiteY513" fmla="*/ 527104 h 6891912"/>
              <a:gd name="connsiteX514" fmla="*/ 11808144 w 12252288"/>
              <a:gd name="connsiteY514" fmla="*/ 553906 h 6891912"/>
              <a:gd name="connsiteX515" fmla="*/ 11815800 w 12252288"/>
              <a:gd name="connsiteY515" fmla="*/ 553906 h 6891912"/>
              <a:gd name="connsiteX516" fmla="*/ 11815800 w 12252288"/>
              <a:gd name="connsiteY516" fmla="*/ 527104 h 6891912"/>
              <a:gd name="connsiteX517" fmla="*/ 11813248 w 12252288"/>
              <a:gd name="connsiteY517" fmla="*/ 516893 h 6891912"/>
              <a:gd name="connsiteX518" fmla="*/ 11806866 w 12252288"/>
              <a:gd name="connsiteY518" fmla="*/ 510512 h 6891912"/>
              <a:gd name="connsiteX519" fmla="*/ 11797932 w 12252288"/>
              <a:gd name="connsiteY519" fmla="*/ 507959 h 6891912"/>
              <a:gd name="connsiteX520" fmla="*/ 11787722 w 12252288"/>
              <a:gd name="connsiteY520" fmla="*/ 510512 h 6891912"/>
              <a:gd name="connsiteX521" fmla="*/ 11782616 w 12252288"/>
              <a:gd name="connsiteY521" fmla="*/ 515617 h 6891912"/>
              <a:gd name="connsiteX522" fmla="*/ 11781340 w 12252288"/>
              <a:gd name="connsiteY522" fmla="*/ 515617 h 6891912"/>
              <a:gd name="connsiteX523" fmla="*/ 11781340 w 12252288"/>
              <a:gd name="connsiteY523" fmla="*/ 507959 h 6891912"/>
              <a:gd name="connsiteX524" fmla="*/ 11694552 w 12252288"/>
              <a:gd name="connsiteY524" fmla="*/ 507959 h 6891912"/>
              <a:gd name="connsiteX525" fmla="*/ 11694552 w 12252288"/>
              <a:gd name="connsiteY525" fmla="*/ 553906 h 6891912"/>
              <a:gd name="connsiteX526" fmla="*/ 11702212 w 12252288"/>
              <a:gd name="connsiteY526" fmla="*/ 553906 h 6891912"/>
              <a:gd name="connsiteX527" fmla="*/ 11702212 w 12252288"/>
              <a:gd name="connsiteY527" fmla="*/ 530932 h 6891912"/>
              <a:gd name="connsiteX528" fmla="*/ 11706040 w 12252288"/>
              <a:gd name="connsiteY528" fmla="*/ 518170 h 6891912"/>
              <a:gd name="connsiteX529" fmla="*/ 11716250 w 12252288"/>
              <a:gd name="connsiteY529" fmla="*/ 514341 h 6891912"/>
              <a:gd name="connsiteX530" fmla="*/ 11725184 w 12252288"/>
              <a:gd name="connsiteY530" fmla="*/ 516893 h 6891912"/>
              <a:gd name="connsiteX531" fmla="*/ 11729012 w 12252288"/>
              <a:gd name="connsiteY531" fmla="*/ 527104 h 6891912"/>
              <a:gd name="connsiteX532" fmla="*/ 11729012 w 12252288"/>
              <a:gd name="connsiteY532" fmla="*/ 553906 h 6891912"/>
              <a:gd name="connsiteX533" fmla="*/ 11736672 w 12252288"/>
              <a:gd name="connsiteY533" fmla="*/ 553906 h 6891912"/>
              <a:gd name="connsiteX534" fmla="*/ 11736672 w 12252288"/>
              <a:gd name="connsiteY534" fmla="*/ 527104 h 6891912"/>
              <a:gd name="connsiteX535" fmla="*/ 11734120 w 12252288"/>
              <a:gd name="connsiteY535" fmla="*/ 516893 h 6891912"/>
              <a:gd name="connsiteX536" fmla="*/ 11727736 w 12252288"/>
              <a:gd name="connsiteY536" fmla="*/ 510512 h 6891912"/>
              <a:gd name="connsiteX537" fmla="*/ 11718804 w 12252288"/>
              <a:gd name="connsiteY537" fmla="*/ 507959 h 6891912"/>
              <a:gd name="connsiteX538" fmla="*/ 11708592 w 12252288"/>
              <a:gd name="connsiteY538" fmla="*/ 510512 h 6891912"/>
              <a:gd name="connsiteX539" fmla="*/ 11703488 w 12252288"/>
              <a:gd name="connsiteY539" fmla="*/ 515617 h 6891912"/>
              <a:gd name="connsiteX540" fmla="*/ 11702212 w 12252288"/>
              <a:gd name="connsiteY540" fmla="*/ 515617 h 6891912"/>
              <a:gd name="connsiteX541" fmla="*/ 11702212 w 12252288"/>
              <a:gd name="connsiteY541" fmla="*/ 507959 h 6891912"/>
              <a:gd name="connsiteX542" fmla="*/ 11654988 w 12252288"/>
              <a:gd name="connsiteY542" fmla="*/ 507959 h 6891912"/>
              <a:gd name="connsiteX543" fmla="*/ 11644780 w 12252288"/>
              <a:gd name="connsiteY543" fmla="*/ 510512 h 6891912"/>
              <a:gd name="connsiteX544" fmla="*/ 11637120 w 12252288"/>
              <a:gd name="connsiteY544" fmla="*/ 518170 h 6891912"/>
              <a:gd name="connsiteX545" fmla="*/ 11634568 w 12252288"/>
              <a:gd name="connsiteY545" fmla="*/ 529656 h 6891912"/>
              <a:gd name="connsiteX546" fmla="*/ 11634568 w 12252288"/>
              <a:gd name="connsiteY546" fmla="*/ 530932 h 6891912"/>
              <a:gd name="connsiteX547" fmla="*/ 11638398 w 12252288"/>
              <a:gd name="connsiteY547" fmla="*/ 544972 h 6891912"/>
              <a:gd name="connsiteX548" fmla="*/ 11646056 w 12252288"/>
              <a:gd name="connsiteY548" fmla="*/ 552629 h 6891912"/>
              <a:gd name="connsiteX549" fmla="*/ 11656264 w 12252288"/>
              <a:gd name="connsiteY549" fmla="*/ 555182 h 6891912"/>
              <a:gd name="connsiteX550" fmla="*/ 11663924 w 12252288"/>
              <a:gd name="connsiteY550" fmla="*/ 553906 h 6891912"/>
              <a:gd name="connsiteX551" fmla="*/ 11669028 w 12252288"/>
              <a:gd name="connsiteY551" fmla="*/ 550077 h 6891912"/>
              <a:gd name="connsiteX552" fmla="*/ 11671580 w 12252288"/>
              <a:gd name="connsiteY552" fmla="*/ 546248 h 6891912"/>
              <a:gd name="connsiteX553" fmla="*/ 11672856 w 12252288"/>
              <a:gd name="connsiteY553" fmla="*/ 546248 h 6891912"/>
              <a:gd name="connsiteX554" fmla="*/ 11672856 w 12252288"/>
              <a:gd name="connsiteY554" fmla="*/ 564116 h 6891912"/>
              <a:gd name="connsiteX555" fmla="*/ 11670304 w 12252288"/>
              <a:gd name="connsiteY555" fmla="*/ 566668 h 6891912"/>
              <a:gd name="connsiteX556" fmla="*/ 11640950 w 12252288"/>
              <a:gd name="connsiteY556" fmla="*/ 566668 h 6891912"/>
              <a:gd name="connsiteX557" fmla="*/ 11640950 w 12252288"/>
              <a:gd name="connsiteY557" fmla="*/ 574326 h 6891912"/>
              <a:gd name="connsiteX558" fmla="*/ 11671580 w 12252288"/>
              <a:gd name="connsiteY558" fmla="*/ 574326 h 6891912"/>
              <a:gd name="connsiteX559" fmla="*/ 11676686 w 12252288"/>
              <a:gd name="connsiteY559" fmla="*/ 571773 h 6891912"/>
              <a:gd name="connsiteX560" fmla="*/ 11679238 w 12252288"/>
              <a:gd name="connsiteY560" fmla="*/ 566668 h 6891912"/>
              <a:gd name="connsiteX561" fmla="*/ 11679238 w 12252288"/>
              <a:gd name="connsiteY561" fmla="*/ 509236 h 6891912"/>
              <a:gd name="connsiteX562" fmla="*/ 11672856 w 12252288"/>
              <a:gd name="connsiteY562" fmla="*/ 509236 h 6891912"/>
              <a:gd name="connsiteX563" fmla="*/ 11672856 w 12252288"/>
              <a:gd name="connsiteY563" fmla="*/ 516893 h 6891912"/>
              <a:gd name="connsiteX564" fmla="*/ 11671580 w 12252288"/>
              <a:gd name="connsiteY564" fmla="*/ 516893 h 6891912"/>
              <a:gd name="connsiteX565" fmla="*/ 11666476 w 12252288"/>
              <a:gd name="connsiteY565" fmla="*/ 510512 h 6891912"/>
              <a:gd name="connsiteX566" fmla="*/ 11654988 w 12252288"/>
              <a:gd name="connsiteY566" fmla="*/ 507959 h 6891912"/>
              <a:gd name="connsiteX567" fmla="*/ 10866248 w 12252288"/>
              <a:gd name="connsiteY567" fmla="*/ 507959 h 6891912"/>
              <a:gd name="connsiteX568" fmla="*/ 10856036 w 12252288"/>
              <a:gd name="connsiteY568" fmla="*/ 510512 h 6891912"/>
              <a:gd name="connsiteX569" fmla="*/ 10848380 w 12252288"/>
              <a:gd name="connsiteY569" fmla="*/ 518170 h 6891912"/>
              <a:gd name="connsiteX570" fmla="*/ 10845828 w 12252288"/>
              <a:gd name="connsiteY570" fmla="*/ 529656 h 6891912"/>
              <a:gd name="connsiteX571" fmla="*/ 10845828 w 12252288"/>
              <a:gd name="connsiteY571" fmla="*/ 530932 h 6891912"/>
              <a:gd name="connsiteX572" fmla="*/ 10849656 w 12252288"/>
              <a:gd name="connsiteY572" fmla="*/ 544972 h 6891912"/>
              <a:gd name="connsiteX573" fmla="*/ 10857314 w 12252288"/>
              <a:gd name="connsiteY573" fmla="*/ 552629 h 6891912"/>
              <a:gd name="connsiteX574" fmla="*/ 10867524 w 12252288"/>
              <a:gd name="connsiteY574" fmla="*/ 555182 h 6891912"/>
              <a:gd name="connsiteX575" fmla="*/ 10875182 w 12252288"/>
              <a:gd name="connsiteY575" fmla="*/ 553906 h 6891912"/>
              <a:gd name="connsiteX576" fmla="*/ 10880288 w 12252288"/>
              <a:gd name="connsiteY576" fmla="*/ 550077 h 6891912"/>
              <a:gd name="connsiteX577" fmla="*/ 10882840 w 12252288"/>
              <a:gd name="connsiteY577" fmla="*/ 546248 h 6891912"/>
              <a:gd name="connsiteX578" fmla="*/ 10884116 w 12252288"/>
              <a:gd name="connsiteY578" fmla="*/ 546248 h 6891912"/>
              <a:gd name="connsiteX579" fmla="*/ 10884116 w 12252288"/>
              <a:gd name="connsiteY579" fmla="*/ 564116 h 6891912"/>
              <a:gd name="connsiteX580" fmla="*/ 10881564 w 12252288"/>
              <a:gd name="connsiteY580" fmla="*/ 566668 h 6891912"/>
              <a:gd name="connsiteX581" fmla="*/ 10852208 w 12252288"/>
              <a:gd name="connsiteY581" fmla="*/ 566668 h 6891912"/>
              <a:gd name="connsiteX582" fmla="*/ 10852208 w 12252288"/>
              <a:gd name="connsiteY582" fmla="*/ 574326 h 6891912"/>
              <a:gd name="connsiteX583" fmla="*/ 10882840 w 12252288"/>
              <a:gd name="connsiteY583" fmla="*/ 574326 h 6891912"/>
              <a:gd name="connsiteX584" fmla="*/ 10887944 w 12252288"/>
              <a:gd name="connsiteY584" fmla="*/ 571773 h 6891912"/>
              <a:gd name="connsiteX585" fmla="*/ 10890496 w 12252288"/>
              <a:gd name="connsiteY585" fmla="*/ 566668 h 6891912"/>
              <a:gd name="connsiteX586" fmla="*/ 10890496 w 12252288"/>
              <a:gd name="connsiteY586" fmla="*/ 509236 h 6891912"/>
              <a:gd name="connsiteX587" fmla="*/ 10884116 w 12252288"/>
              <a:gd name="connsiteY587" fmla="*/ 509236 h 6891912"/>
              <a:gd name="connsiteX588" fmla="*/ 10884116 w 12252288"/>
              <a:gd name="connsiteY588" fmla="*/ 516893 h 6891912"/>
              <a:gd name="connsiteX589" fmla="*/ 10882840 w 12252288"/>
              <a:gd name="connsiteY589" fmla="*/ 516893 h 6891912"/>
              <a:gd name="connsiteX590" fmla="*/ 10877734 w 12252288"/>
              <a:gd name="connsiteY590" fmla="*/ 510512 h 6891912"/>
              <a:gd name="connsiteX591" fmla="*/ 10866248 w 12252288"/>
              <a:gd name="connsiteY591" fmla="*/ 507959 h 6891912"/>
              <a:gd name="connsiteX592" fmla="*/ 10702884 w 12252288"/>
              <a:gd name="connsiteY592" fmla="*/ 507959 h 6891912"/>
              <a:gd name="connsiteX593" fmla="*/ 10702884 w 12252288"/>
              <a:gd name="connsiteY593" fmla="*/ 553906 h 6891912"/>
              <a:gd name="connsiteX594" fmla="*/ 10710542 w 12252288"/>
              <a:gd name="connsiteY594" fmla="*/ 553906 h 6891912"/>
              <a:gd name="connsiteX595" fmla="*/ 10710542 w 12252288"/>
              <a:gd name="connsiteY595" fmla="*/ 530932 h 6891912"/>
              <a:gd name="connsiteX596" fmla="*/ 10714372 w 12252288"/>
              <a:gd name="connsiteY596" fmla="*/ 518170 h 6891912"/>
              <a:gd name="connsiteX597" fmla="*/ 10724580 w 12252288"/>
              <a:gd name="connsiteY597" fmla="*/ 514341 h 6891912"/>
              <a:gd name="connsiteX598" fmla="*/ 10733516 w 12252288"/>
              <a:gd name="connsiteY598" fmla="*/ 516893 h 6891912"/>
              <a:gd name="connsiteX599" fmla="*/ 10737344 w 12252288"/>
              <a:gd name="connsiteY599" fmla="*/ 527104 h 6891912"/>
              <a:gd name="connsiteX600" fmla="*/ 10737344 w 12252288"/>
              <a:gd name="connsiteY600" fmla="*/ 553906 h 6891912"/>
              <a:gd name="connsiteX601" fmla="*/ 10745002 w 12252288"/>
              <a:gd name="connsiteY601" fmla="*/ 553906 h 6891912"/>
              <a:gd name="connsiteX602" fmla="*/ 10745002 w 12252288"/>
              <a:gd name="connsiteY602" fmla="*/ 527104 h 6891912"/>
              <a:gd name="connsiteX603" fmla="*/ 10742448 w 12252288"/>
              <a:gd name="connsiteY603" fmla="*/ 516893 h 6891912"/>
              <a:gd name="connsiteX604" fmla="*/ 10736068 w 12252288"/>
              <a:gd name="connsiteY604" fmla="*/ 510512 h 6891912"/>
              <a:gd name="connsiteX605" fmla="*/ 10727132 w 12252288"/>
              <a:gd name="connsiteY605" fmla="*/ 507959 h 6891912"/>
              <a:gd name="connsiteX606" fmla="*/ 10716924 w 12252288"/>
              <a:gd name="connsiteY606" fmla="*/ 510512 h 6891912"/>
              <a:gd name="connsiteX607" fmla="*/ 10711818 w 12252288"/>
              <a:gd name="connsiteY607" fmla="*/ 515617 h 6891912"/>
              <a:gd name="connsiteX608" fmla="*/ 10710542 w 12252288"/>
              <a:gd name="connsiteY608" fmla="*/ 515617 h 6891912"/>
              <a:gd name="connsiteX609" fmla="*/ 10710542 w 12252288"/>
              <a:gd name="connsiteY609" fmla="*/ 507959 h 6891912"/>
              <a:gd name="connsiteX610" fmla="*/ 10557388 w 12252288"/>
              <a:gd name="connsiteY610" fmla="*/ 507959 h 6891912"/>
              <a:gd name="connsiteX611" fmla="*/ 10545900 w 12252288"/>
              <a:gd name="connsiteY611" fmla="*/ 510512 h 6891912"/>
              <a:gd name="connsiteX612" fmla="*/ 10536968 w 12252288"/>
              <a:gd name="connsiteY612" fmla="*/ 519446 h 6891912"/>
              <a:gd name="connsiteX613" fmla="*/ 10534416 w 12252288"/>
              <a:gd name="connsiteY613" fmla="*/ 532209 h 6891912"/>
              <a:gd name="connsiteX614" fmla="*/ 10534416 w 12252288"/>
              <a:gd name="connsiteY614" fmla="*/ 533485 h 6891912"/>
              <a:gd name="connsiteX615" fmla="*/ 10536968 w 12252288"/>
              <a:gd name="connsiteY615" fmla="*/ 546248 h 6891912"/>
              <a:gd name="connsiteX616" fmla="*/ 10545900 w 12252288"/>
              <a:gd name="connsiteY616" fmla="*/ 553906 h 6891912"/>
              <a:gd name="connsiteX617" fmla="*/ 10557388 w 12252288"/>
              <a:gd name="connsiteY617" fmla="*/ 556458 h 6891912"/>
              <a:gd name="connsiteX618" fmla="*/ 10568874 w 12252288"/>
              <a:gd name="connsiteY618" fmla="*/ 553906 h 6891912"/>
              <a:gd name="connsiteX619" fmla="*/ 10577808 w 12252288"/>
              <a:gd name="connsiteY619" fmla="*/ 546248 h 6891912"/>
              <a:gd name="connsiteX620" fmla="*/ 10580360 w 12252288"/>
              <a:gd name="connsiteY620" fmla="*/ 533485 h 6891912"/>
              <a:gd name="connsiteX621" fmla="*/ 10580360 w 12252288"/>
              <a:gd name="connsiteY621" fmla="*/ 532209 h 6891912"/>
              <a:gd name="connsiteX622" fmla="*/ 10577808 w 12252288"/>
              <a:gd name="connsiteY622" fmla="*/ 519446 h 6891912"/>
              <a:gd name="connsiteX623" fmla="*/ 10568874 w 12252288"/>
              <a:gd name="connsiteY623" fmla="*/ 510512 h 6891912"/>
              <a:gd name="connsiteX624" fmla="*/ 10557388 w 12252288"/>
              <a:gd name="connsiteY624" fmla="*/ 507959 h 6891912"/>
              <a:gd name="connsiteX625" fmla="*/ 10289370 w 12252288"/>
              <a:gd name="connsiteY625" fmla="*/ 507959 h 6891912"/>
              <a:gd name="connsiteX626" fmla="*/ 10289370 w 12252288"/>
              <a:gd name="connsiteY626" fmla="*/ 553906 h 6891912"/>
              <a:gd name="connsiteX627" fmla="*/ 10297028 w 12252288"/>
              <a:gd name="connsiteY627" fmla="*/ 553906 h 6891912"/>
              <a:gd name="connsiteX628" fmla="*/ 10297028 w 12252288"/>
              <a:gd name="connsiteY628" fmla="*/ 530932 h 6891912"/>
              <a:gd name="connsiteX629" fmla="*/ 10300856 w 12252288"/>
              <a:gd name="connsiteY629" fmla="*/ 518170 h 6891912"/>
              <a:gd name="connsiteX630" fmla="*/ 10311066 w 12252288"/>
              <a:gd name="connsiteY630" fmla="*/ 514341 h 6891912"/>
              <a:gd name="connsiteX631" fmla="*/ 10320000 w 12252288"/>
              <a:gd name="connsiteY631" fmla="*/ 516893 h 6891912"/>
              <a:gd name="connsiteX632" fmla="*/ 10323828 w 12252288"/>
              <a:gd name="connsiteY632" fmla="*/ 527104 h 6891912"/>
              <a:gd name="connsiteX633" fmla="*/ 10323828 w 12252288"/>
              <a:gd name="connsiteY633" fmla="*/ 553906 h 6891912"/>
              <a:gd name="connsiteX634" fmla="*/ 10331488 w 12252288"/>
              <a:gd name="connsiteY634" fmla="*/ 553906 h 6891912"/>
              <a:gd name="connsiteX635" fmla="*/ 10331488 w 12252288"/>
              <a:gd name="connsiteY635" fmla="*/ 527104 h 6891912"/>
              <a:gd name="connsiteX636" fmla="*/ 10328934 w 12252288"/>
              <a:gd name="connsiteY636" fmla="*/ 516893 h 6891912"/>
              <a:gd name="connsiteX637" fmla="*/ 10322552 w 12252288"/>
              <a:gd name="connsiteY637" fmla="*/ 510512 h 6891912"/>
              <a:gd name="connsiteX638" fmla="*/ 10313618 w 12252288"/>
              <a:gd name="connsiteY638" fmla="*/ 507959 h 6891912"/>
              <a:gd name="connsiteX639" fmla="*/ 10303408 w 12252288"/>
              <a:gd name="connsiteY639" fmla="*/ 510512 h 6891912"/>
              <a:gd name="connsiteX640" fmla="*/ 10298304 w 12252288"/>
              <a:gd name="connsiteY640" fmla="*/ 515617 h 6891912"/>
              <a:gd name="connsiteX641" fmla="*/ 10297028 w 12252288"/>
              <a:gd name="connsiteY641" fmla="*/ 515617 h 6891912"/>
              <a:gd name="connsiteX642" fmla="*/ 10297028 w 12252288"/>
              <a:gd name="connsiteY642" fmla="*/ 507959 h 6891912"/>
              <a:gd name="connsiteX643" fmla="*/ 10123452 w 12252288"/>
              <a:gd name="connsiteY643" fmla="*/ 507959 h 6891912"/>
              <a:gd name="connsiteX644" fmla="*/ 10123452 w 12252288"/>
              <a:gd name="connsiteY644" fmla="*/ 553906 h 6891912"/>
              <a:gd name="connsiteX645" fmla="*/ 10131110 w 12252288"/>
              <a:gd name="connsiteY645" fmla="*/ 553906 h 6891912"/>
              <a:gd name="connsiteX646" fmla="*/ 10131110 w 12252288"/>
              <a:gd name="connsiteY646" fmla="*/ 530932 h 6891912"/>
              <a:gd name="connsiteX647" fmla="*/ 10134940 w 12252288"/>
              <a:gd name="connsiteY647" fmla="*/ 518170 h 6891912"/>
              <a:gd name="connsiteX648" fmla="*/ 10145150 w 12252288"/>
              <a:gd name="connsiteY648" fmla="*/ 514341 h 6891912"/>
              <a:gd name="connsiteX649" fmla="*/ 10154084 w 12252288"/>
              <a:gd name="connsiteY649" fmla="*/ 516893 h 6891912"/>
              <a:gd name="connsiteX650" fmla="*/ 10157912 w 12252288"/>
              <a:gd name="connsiteY650" fmla="*/ 527104 h 6891912"/>
              <a:gd name="connsiteX651" fmla="*/ 10157912 w 12252288"/>
              <a:gd name="connsiteY651" fmla="*/ 553906 h 6891912"/>
              <a:gd name="connsiteX652" fmla="*/ 10165570 w 12252288"/>
              <a:gd name="connsiteY652" fmla="*/ 553906 h 6891912"/>
              <a:gd name="connsiteX653" fmla="*/ 10165570 w 12252288"/>
              <a:gd name="connsiteY653" fmla="*/ 527104 h 6891912"/>
              <a:gd name="connsiteX654" fmla="*/ 10163016 w 12252288"/>
              <a:gd name="connsiteY654" fmla="*/ 516893 h 6891912"/>
              <a:gd name="connsiteX655" fmla="*/ 10156636 w 12252288"/>
              <a:gd name="connsiteY655" fmla="*/ 510512 h 6891912"/>
              <a:gd name="connsiteX656" fmla="*/ 10147702 w 12252288"/>
              <a:gd name="connsiteY656" fmla="*/ 507959 h 6891912"/>
              <a:gd name="connsiteX657" fmla="*/ 10137492 w 12252288"/>
              <a:gd name="connsiteY657" fmla="*/ 510512 h 6891912"/>
              <a:gd name="connsiteX658" fmla="*/ 10132388 w 12252288"/>
              <a:gd name="connsiteY658" fmla="*/ 515617 h 6891912"/>
              <a:gd name="connsiteX659" fmla="*/ 10131110 w 12252288"/>
              <a:gd name="connsiteY659" fmla="*/ 515617 h 6891912"/>
              <a:gd name="connsiteX660" fmla="*/ 10131110 w 12252288"/>
              <a:gd name="connsiteY660" fmla="*/ 507959 h 6891912"/>
              <a:gd name="connsiteX661" fmla="*/ 10201306 w 12252288"/>
              <a:gd name="connsiteY661" fmla="*/ 506683 h 6891912"/>
              <a:gd name="connsiteX662" fmla="*/ 10189820 w 12252288"/>
              <a:gd name="connsiteY662" fmla="*/ 509236 h 6891912"/>
              <a:gd name="connsiteX663" fmla="*/ 10180886 w 12252288"/>
              <a:gd name="connsiteY663" fmla="*/ 516893 h 6891912"/>
              <a:gd name="connsiteX664" fmla="*/ 10178332 w 12252288"/>
              <a:gd name="connsiteY664" fmla="*/ 529656 h 6891912"/>
              <a:gd name="connsiteX665" fmla="*/ 10178332 w 12252288"/>
              <a:gd name="connsiteY665" fmla="*/ 530932 h 6891912"/>
              <a:gd name="connsiteX666" fmla="*/ 10180886 w 12252288"/>
              <a:gd name="connsiteY666" fmla="*/ 543695 h 6891912"/>
              <a:gd name="connsiteX667" fmla="*/ 10189820 w 12252288"/>
              <a:gd name="connsiteY667" fmla="*/ 552629 h 6891912"/>
              <a:gd name="connsiteX668" fmla="*/ 10201306 w 12252288"/>
              <a:gd name="connsiteY668" fmla="*/ 555182 h 6891912"/>
              <a:gd name="connsiteX669" fmla="*/ 10212792 w 12252288"/>
              <a:gd name="connsiteY669" fmla="*/ 552629 h 6891912"/>
              <a:gd name="connsiteX670" fmla="*/ 10220450 w 12252288"/>
              <a:gd name="connsiteY670" fmla="*/ 546248 h 6891912"/>
              <a:gd name="connsiteX671" fmla="*/ 10224280 w 12252288"/>
              <a:gd name="connsiteY671" fmla="*/ 537314 h 6891912"/>
              <a:gd name="connsiteX672" fmla="*/ 10216620 w 12252288"/>
              <a:gd name="connsiteY672" fmla="*/ 536038 h 6891912"/>
              <a:gd name="connsiteX673" fmla="*/ 10212792 w 12252288"/>
              <a:gd name="connsiteY673" fmla="*/ 544972 h 6891912"/>
              <a:gd name="connsiteX674" fmla="*/ 10202584 w 12252288"/>
              <a:gd name="connsiteY674" fmla="*/ 548800 h 6891912"/>
              <a:gd name="connsiteX675" fmla="*/ 10193648 w 12252288"/>
              <a:gd name="connsiteY675" fmla="*/ 546248 h 6891912"/>
              <a:gd name="connsiteX676" fmla="*/ 10188544 w 12252288"/>
              <a:gd name="connsiteY676" fmla="*/ 541143 h 6891912"/>
              <a:gd name="connsiteX677" fmla="*/ 10184714 w 12252288"/>
              <a:gd name="connsiteY677" fmla="*/ 532209 h 6891912"/>
              <a:gd name="connsiteX678" fmla="*/ 10187268 w 12252288"/>
              <a:gd name="connsiteY678" fmla="*/ 521999 h 6891912"/>
              <a:gd name="connsiteX679" fmla="*/ 10192372 w 12252288"/>
              <a:gd name="connsiteY679" fmla="*/ 516893 h 6891912"/>
              <a:gd name="connsiteX680" fmla="*/ 10201306 w 12252288"/>
              <a:gd name="connsiteY680" fmla="*/ 514341 h 6891912"/>
              <a:gd name="connsiteX681" fmla="*/ 10208964 w 12252288"/>
              <a:gd name="connsiteY681" fmla="*/ 515617 h 6891912"/>
              <a:gd name="connsiteX682" fmla="*/ 10214068 w 12252288"/>
              <a:gd name="connsiteY682" fmla="*/ 519446 h 6891912"/>
              <a:gd name="connsiteX683" fmla="*/ 10216620 w 12252288"/>
              <a:gd name="connsiteY683" fmla="*/ 525827 h 6891912"/>
              <a:gd name="connsiteX684" fmla="*/ 10224280 w 12252288"/>
              <a:gd name="connsiteY684" fmla="*/ 524551 h 6891912"/>
              <a:gd name="connsiteX685" fmla="*/ 10220450 w 12252288"/>
              <a:gd name="connsiteY685" fmla="*/ 515617 h 6891912"/>
              <a:gd name="connsiteX686" fmla="*/ 10212792 w 12252288"/>
              <a:gd name="connsiteY686" fmla="*/ 509236 h 6891912"/>
              <a:gd name="connsiteX687" fmla="*/ 10201306 w 12252288"/>
              <a:gd name="connsiteY687" fmla="*/ 506683 h 6891912"/>
              <a:gd name="connsiteX688" fmla="*/ 11328260 w 12252288"/>
              <a:gd name="connsiteY688" fmla="*/ 504131 h 6891912"/>
              <a:gd name="connsiteX689" fmla="*/ 11315498 w 12252288"/>
              <a:gd name="connsiteY689" fmla="*/ 507959 h 6891912"/>
              <a:gd name="connsiteX690" fmla="*/ 11310394 w 12252288"/>
              <a:gd name="connsiteY690" fmla="*/ 518170 h 6891912"/>
              <a:gd name="connsiteX691" fmla="*/ 11312946 w 12252288"/>
              <a:gd name="connsiteY691" fmla="*/ 525827 h 6891912"/>
              <a:gd name="connsiteX692" fmla="*/ 11318052 w 12252288"/>
              <a:gd name="connsiteY692" fmla="*/ 529656 h 6891912"/>
              <a:gd name="connsiteX693" fmla="*/ 11325708 w 12252288"/>
              <a:gd name="connsiteY693" fmla="*/ 532209 h 6891912"/>
              <a:gd name="connsiteX694" fmla="*/ 11329538 w 12252288"/>
              <a:gd name="connsiteY694" fmla="*/ 533485 h 6891912"/>
              <a:gd name="connsiteX695" fmla="*/ 11337196 w 12252288"/>
              <a:gd name="connsiteY695" fmla="*/ 536038 h 6891912"/>
              <a:gd name="connsiteX696" fmla="*/ 11339748 w 12252288"/>
              <a:gd name="connsiteY696" fmla="*/ 541143 h 6891912"/>
              <a:gd name="connsiteX697" fmla="*/ 11337196 w 12252288"/>
              <a:gd name="connsiteY697" fmla="*/ 546248 h 6891912"/>
              <a:gd name="connsiteX698" fmla="*/ 11329538 w 12252288"/>
              <a:gd name="connsiteY698" fmla="*/ 548800 h 6891912"/>
              <a:gd name="connsiteX699" fmla="*/ 11323156 w 12252288"/>
              <a:gd name="connsiteY699" fmla="*/ 547524 h 6891912"/>
              <a:gd name="connsiteX700" fmla="*/ 11318052 w 12252288"/>
              <a:gd name="connsiteY700" fmla="*/ 543695 h 6891912"/>
              <a:gd name="connsiteX701" fmla="*/ 11315498 w 12252288"/>
              <a:gd name="connsiteY701" fmla="*/ 536038 h 6891912"/>
              <a:gd name="connsiteX702" fmla="*/ 11307840 w 12252288"/>
              <a:gd name="connsiteY702" fmla="*/ 537314 h 6891912"/>
              <a:gd name="connsiteX703" fmla="*/ 11315498 w 12252288"/>
              <a:gd name="connsiteY703" fmla="*/ 550077 h 6891912"/>
              <a:gd name="connsiteX704" fmla="*/ 11329538 w 12252288"/>
              <a:gd name="connsiteY704" fmla="*/ 553906 h 6891912"/>
              <a:gd name="connsiteX705" fmla="*/ 11343576 w 12252288"/>
              <a:gd name="connsiteY705" fmla="*/ 550077 h 6891912"/>
              <a:gd name="connsiteX706" fmla="*/ 11349958 w 12252288"/>
              <a:gd name="connsiteY706" fmla="*/ 541143 h 6891912"/>
              <a:gd name="connsiteX707" fmla="*/ 11347404 w 12252288"/>
              <a:gd name="connsiteY707" fmla="*/ 533485 h 6891912"/>
              <a:gd name="connsiteX708" fmla="*/ 11341024 w 12252288"/>
              <a:gd name="connsiteY708" fmla="*/ 529656 h 6891912"/>
              <a:gd name="connsiteX709" fmla="*/ 11332090 w 12252288"/>
              <a:gd name="connsiteY709" fmla="*/ 527104 h 6891912"/>
              <a:gd name="connsiteX710" fmla="*/ 11328260 w 12252288"/>
              <a:gd name="connsiteY710" fmla="*/ 525827 h 6891912"/>
              <a:gd name="connsiteX711" fmla="*/ 11320604 w 12252288"/>
              <a:gd name="connsiteY711" fmla="*/ 523275 h 6891912"/>
              <a:gd name="connsiteX712" fmla="*/ 11318052 w 12252288"/>
              <a:gd name="connsiteY712" fmla="*/ 518170 h 6891912"/>
              <a:gd name="connsiteX713" fmla="*/ 11320604 w 12252288"/>
              <a:gd name="connsiteY713" fmla="*/ 513065 h 6891912"/>
              <a:gd name="connsiteX714" fmla="*/ 11328260 w 12252288"/>
              <a:gd name="connsiteY714" fmla="*/ 510512 h 6891912"/>
              <a:gd name="connsiteX715" fmla="*/ 11335920 w 12252288"/>
              <a:gd name="connsiteY715" fmla="*/ 513065 h 6891912"/>
              <a:gd name="connsiteX716" fmla="*/ 11339748 w 12252288"/>
              <a:gd name="connsiteY716" fmla="*/ 520722 h 6891912"/>
              <a:gd name="connsiteX717" fmla="*/ 11347404 w 12252288"/>
              <a:gd name="connsiteY717" fmla="*/ 518170 h 6891912"/>
              <a:gd name="connsiteX718" fmla="*/ 11341024 w 12252288"/>
              <a:gd name="connsiteY718" fmla="*/ 507959 h 6891912"/>
              <a:gd name="connsiteX719" fmla="*/ 11328260 w 12252288"/>
              <a:gd name="connsiteY719" fmla="*/ 504131 h 6891912"/>
              <a:gd name="connsiteX720" fmla="*/ 11057690 w 12252288"/>
              <a:gd name="connsiteY720" fmla="*/ 504131 h 6891912"/>
              <a:gd name="connsiteX721" fmla="*/ 11044928 w 12252288"/>
              <a:gd name="connsiteY721" fmla="*/ 507959 h 6891912"/>
              <a:gd name="connsiteX722" fmla="*/ 11039822 w 12252288"/>
              <a:gd name="connsiteY722" fmla="*/ 518170 h 6891912"/>
              <a:gd name="connsiteX723" fmla="*/ 11042376 w 12252288"/>
              <a:gd name="connsiteY723" fmla="*/ 525827 h 6891912"/>
              <a:gd name="connsiteX724" fmla="*/ 11047480 w 12252288"/>
              <a:gd name="connsiteY724" fmla="*/ 529656 h 6891912"/>
              <a:gd name="connsiteX725" fmla="*/ 11055138 w 12252288"/>
              <a:gd name="connsiteY725" fmla="*/ 532209 h 6891912"/>
              <a:gd name="connsiteX726" fmla="*/ 11058966 w 12252288"/>
              <a:gd name="connsiteY726" fmla="*/ 533485 h 6891912"/>
              <a:gd name="connsiteX727" fmla="*/ 11066624 w 12252288"/>
              <a:gd name="connsiteY727" fmla="*/ 536038 h 6891912"/>
              <a:gd name="connsiteX728" fmla="*/ 11069176 w 12252288"/>
              <a:gd name="connsiteY728" fmla="*/ 541143 h 6891912"/>
              <a:gd name="connsiteX729" fmla="*/ 11066624 w 12252288"/>
              <a:gd name="connsiteY729" fmla="*/ 546248 h 6891912"/>
              <a:gd name="connsiteX730" fmla="*/ 11058966 w 12252288"/>
              <a:gd name="connsiteY730" fmla="*/ 548800 h 6891912"/>
              <a:gd name="connsiteX731" fmla="*/ 11052584 w 12252288"/>
              <a:gd name="connsiteY731" fmla="*/ 547524 h 6891912"/>
              <a:gd name="connsiteX732" fmla="*/ 11047480 w 12252288"/>
              <a:gd name="connsiteY732" fmla="*/ 543695 h 6891912"/>
              <a:gd name="connsiteX733" fmla="*/ 11044928 w 12252288"/>
              <a:gd name="connsiteY733" fmla="*/ 536038 h 6891912"/>
              <a:gd name="connsiteX734" fmla="*/ 11037268 w 12252288"/>
              <a:gd name="connsiteY734" fmla="*/ 537314 h 6891912"/>
              <a:gd name="connsiteX735" fmla="*/ 11044928 w 12252288"/>
              <a:gd name="connsiteY735" fmla="*/ 550077 h 6891912"/>
              <a:gd name="connsiteX736" fmla="*/ 11058966 w 12252288"/>
              <a:gd name="connsiteY736" fmla="*/ 553906 h 6891912"/>
              <a:gd name="connsiteX737" fmla="*/ 11073004 w 12252288"/>
              <a:gd name="connsiteY737" fmla="*/ 550077 h 6891912"/>
              <a:gd name="connsiteX738" fmla="*/ 11079386 w 12252288"/>
              <a:gd name="connsiteY738" fmla="*/ 541143 h 6891912"/>
              <a:gd name="connsiteX739" fmla="*/ 11076834 w 12252288"/>
              <a:gd name="connsiteY739" fmla="*/ 533485 h 6891912"/>
              <a:gd name="connsiteX740" fmla="*/ 11070452 w 12252288"/>
              <a:gd name="connsiteY740" fmla="*/ 529656 h 6891912"/>
              <a:gd name="connsiteX741" fmla="*/ 11061520 w 12252288"/>
              <a:gd name="connsiteY741" fmla="*/ 527104 h 6891912"/>
              <a:gd name="connsiteX742" fmla="*/ 11057690 w 12252288"/>
              <a:gd name="connsiteY742" fmla="*/ 525827 h 6891912"/>
              <a:gd name="connsiteX743" fmla="*/ 11050032 w 12252288"/>
              <a:gd name="connsiteY743" fmla="*/ 523275 h 6891912"/>
              <a:gd name="connsiteX744" fmla="*/ 11047480 w 12252288"/>
              <a:gd name="connsiteY744" fmla="*/ 518170 h 6891912"/>
              <a:gd name="connsiteX745" fmla="*/ 11050032 w 12252288"/>
              <a:gd name="connsiteY745" fmla="*/ 513065 h 6891912"/>
              <a:gd name="connsiteX746" fmla="*/ 11057690 w 12252288"/>
              <a:gd name="connsiteY746" fmla="*/ 510512 h 6891912"/>
              <a:gd name="connsiteX747" fmla="*/ 11065348 w 12252288"/>
              <a:gd name="connsiteY747" fmla="*/ 513065 h 6891912"/>
              <a:gd name="connsiteX748" fmla="*/ 11069176 w 12252288"/>
              <a:gd name="connsiteY748" fmla="*/ 520722 h 6891912"/>
              <a:gd name="connsiteX749" fmla="*/ 11076834 w 12252288"/>
              <a:gd name="connsiteY749" fmla="*/ 518170 h 6891912"/>
              <a:gd name="connsiteX750" fmla="*/ 11070452 w 12252288"/>
              <a:gd name="connsiteY750" fmla="*/ 507959 h 6891912"/>
              <a:gd name="connsiteX751" fmla="*/ 11057690 w 12252288"/>
              <a:gd name="connsiteY751" fmla="*/ 504131 h 6891912"/>
              <a:gd name="connsiteX752" fmla="*/ 11531190 w 12252288"/>
              <a:gd name="connsiteY752" fmla="*/ 496473 h 6891912"/>
              <a:gd name="connsiteX753" fmla="*/ 11546504 w 12252288"/>
              <a:gd name="connsiteY753" fmla="*/ 496473 h 6891912"/>
              <a:gd name="connsiteX754" fmla="*/ 11555440 w 12252288"/>
              <a:gd name="connsiteY754" fmla="*/ 499025 h 6891912"/>
              <a:gd name="connsiteX755" fmla="*/ 11559268 w 12252288"/>
              <a:gd name="connsiteY755" fmla="*/ 506683 h 6891912"/>
              <a:gd name="connsiteX756" fmla="*/ 11559268 w 12252288"/>
              <a:gd name="connsiteY756" fmla="*/ 507959 h 6891912"/>
              <a:gd name="connsiteX757" fmla="*/ 11555440 w 12252288"/>
              <a:gd name="connsiteY757" fmla="*/ 515617 h 6891912"/>
              <a:gd name="connsiteX758" fmla="*/ 11546504 w 12252288"/>
              <a:gd name="connsiteY758" fmla="*/ 518170 h 6891912"/>
              <a:gd name="connsiteX759" fmla="*/ 11531190 w 12252288"/>
              <a:gd name="connsiteY759" fmla="*/ 518170 h 6891912"/>
              <a:gd name="connsiteX760" fmla="*/ 10353184 w 12252288"/>
              <a:gd name="connsiteY760" fmla="*/ 492644 h 6891912"/>
              <a:gd name="connsiteX761" fmla="*/ 10353184 w 12252288"/>
              <a:gd name="connsiteY761" fmla="*/ 509236 h 6891912"/>
              <a:gd name="connsiteX762" fmla="*/ 10339144 w 12252288"/>
              <a:gd name="connsiteY762" fmla="*/ 509236 h 6891912"/>
              <a:gd name="connsiteX763" fmla="*/ 10339144 w 12252288"/>
              <a:gd name="connsiteY763" fmla="*/ 515617 h 6891912"/>
              <a:gd name="connsiteX764" fmla="*/ 10353184 w 12252288"/>
              <a:gd name="connsiteY764" fmla="*/ 515617 h 6891912"/>
              <a:gd name="connsiteX765" fmla="*/ 10353184 w 12252288"/>
              <a:gd name="connsiteY765" fmla="*/ 546248 h 6891912"/>
              <a:gd name="connsiteX766" fmla="*/ 10355736 w 12252288"/>
              <a:gd name="connsiteY766" fmla="*/ 551353 h 6891912"/>
              <a:gd name="connsiteX767" fmla="*/ 10362118 w 12252288"/>
              <a:gd name="connsiteY767" fmla="*/ 553906 h 6891912"/>
              <a:gd name="connsiteX768" fmla="*/ 10362118 w 12252288"/>
              <a:gd name="connsiteY768" fmla="*/ 555182 h 6891912"/>
              <a:gd name="connsiteX769" fmla="*/ 10373604 w 12252288"/>
              <a:gd name="connsiteY769" fmla="*/ 555182 h 6891912"/>
              <a:gd name="connsiteX770" fmla="*/ 10373604 w 12252288"/>
              <a:gd name="connsiteY770" fmla="*/ 548800 h 6891912"/>
              <a:gd name="connsiteX771" fmla="*/ 10363394 w 12252288"/>
              <a:gd name="connsiteY771" fmla="*/ 548800 h 6891912"/>
              <a:gd name="connsiteX772" fmla="*/ 10360840 w 12252288"/>
              <a:gd name="connsiteY772" fmla="*/ 546248 h 6891912"/>
              <a:gd name="connsiteX773" fmla="*/ 10360840 w 12252288"/>
              <a:gd name="connsiteY773" fmla="*/ 515617 h 6891912"/>
              <a:gd name="connsiteX774" fmla="*/ 10376156 w 12252288"/>
              <a:gd name="connsiteY774" fmla="*/ 515617 h 6891912"/>
              <a:gd name="connsiteX775" fmla="*/ 10376156 w 12252288"/>
              <a:gd name="connsiteY775" fmla="*/ 509236 h 6891912"/>
              <a:gd name="connsiteX776" fmla="*/ 10360840 w 12252288"/>
              <a:gd name="connsiteY776" fmla="*/ 509236 h 6891912"/>
              <a:gd name="connsiteX777" fmla="*/ 10360840 w 12252288"/>
              <a:gd name="connsiteY777" fmla="*/ 492644 h 6891912"/>
              <a:gd name="connsiteX778" fmla="*/ 11755816 w 12252288"/>
              <a:gd name="connsiteY778" fmla="*/ 491368 h 6891912"/>
              <a:gd name="connsiteX779" fmla="*/ 11751986 w 12252288"/>
              <a:gd name="connsiteY779" fmla="*/ 492644 h 6891912"/>
              <a:gd name="connsiteX780" fmla="*/ 11750710 w 12252288"/>
              <a:gd name="connsiteY780" fmla="*/ 496473 h 6891912"/>
              <a:gd name="connsiteX781" fmla="*/ 11751986 w 12252288"/>
              <a:gd name="connsiteY781" fmla="*/ 500302 h 6891912"/>
              <a:gd name="connsiteX782" fmla="*/ 11755816 w 12252288"/>
              <a:gd name="connsiteY782" fmla="*/ 501578 h 6891912"/>
              <a:gd name="connsiteX783" fmla="*/ 11759644 w 12252288"/>
              <a:gd name="connsiteY783" fmla="*/ 500302 h 6891912"/>
              <a:gd name="connsiteX784" fmla="*/ 11760920 w 12252288"/>
              <a:gd name="connsiteY784" fmla="*/ 496473 h 6891912"/>
              <a:gd name="connsiteX785" fmla="*/ 11759644 w 12252288"/>
              <a:gd name="connsiteY785" fmla="*/ 492644 h 6891912"/>
              <a:gd name="connsiteX786" fmla="*/ 11755816 w 12252288"/>
              <a:gd name="connsiteY786" fmla="*/ 491368 h 6891912"/>
              <a:gd name="connsiteX787" fmla="*/ 11477586 w 12252288"/>
              <a:gd name="connsiteY787" fmla="*/ 491368 h 6891912"/>
              <a:gd name="connsiteX788" fmla="*/ 11473756 w 12252288"/>
              <a:gd name="connsiteY788" fmla="*/ 492644 h 6891912"/>
              <a:gd name="connsiteX789" fmla="*/ 11472480 w 12252288"/>
              <a:gd name="connsiteY789" fmla="*/ 496473 h 6891912"/>
              <a:gd name="connsiteX790" fmla="*/ 11473756 w 12252288"/>
              <a:gd name="connsiteY790" fmla="*/ 500302 h 6891912"/>
              <a:gd name="connsiteX791" fmla="*/ 11477586 w 12252288"/>
              <a:gd name="connsiteY791" fmla="*/ 501578 h 6891912"/>
              <a:gd name="connsiteX792" fmla="*/ 11481416 w 12252288"/>
              <a:gd name="connsiteY792" fmla="*/ 500302 h 6891912"/>
              <a:gd name="connsiteX793" fmla="*/ 11482692 w 12252288"/>
              <a:gd name="connsiteY793" fmla="*/ 496473 h 6891912"/>
              <a:gd name="connsiteX794" fmla="*/ 11481416 w 12252288"/>
              <a:gd name="connsiteY794" fmla="*/ 492644 h 6891912"/>
              <a:gd name="connsiteX795" fmla="*/ 11477586 w 12252288"/>
              <a:gd name="connsiteY795" fmla="*/ 491368 h 6891912"/>
              <a:gd name="connsiteX796" fmla="*/ 10909640 w 12252288"/>
              <a:gd name="connsiteY796" fmla="*/ 491368 h 6891912"/>
              <a:gd name="connsiteX797" fmla="*/ 10905812 w 12252288"/>
              <a:gd name="connsiteY797" fmla="*/ 492644 h 6891912"/>
              <a:gd name="connsiteX798" fmla="*/ 10904536 w 12252288"/>
              <a:gd name="connsiteY798" fmla="*/ 496473 h 6891912"/>
              <a:gd name="connsiteX799" fmla="*/ 10905812 w 12252288"/>
              <a:gd name="connsiteY799" fmla="*/ 500302 h 6891912"/>
              <a:gd name="connsiteX800" fmla="*/ 10909640 w 12252288"/>
              <a:gd name="connsiteY800" fmla="*/ 501578 h 6891912"/>
              <a:gd name="connsiteX801" fmla="*/ 10913470 w 12252288"/>
              <a:gd name="connsiteY801" fmla="*/ 500302 h 6891912"/>
              <a:gd name="connsiteX802" fmla="*/ 10914748 w 12252288"/>
              <a:gd name="connsiteY802" fmla="*/ 496473 h 6891912"/>
              <a:gd name="connsiteX803" fmla="*/ 10913470 w 12252288"/>
              <a:gd name="connsiteY803" fmla="*/ 492644 h 6891912"/>
              <a:gd name="connsiteX804" fmla="*/ 10909640 w 12252288"/>
              <a:gd name="connsiteY804" fmla="*/ 491368 h 6891912"/>
              <a:gd name="connsiteX805" fmla="*/ 9991996 w 12252288"/>
              <a:gd name="connsiteY805" fmla="*/ 491368 h 6891912"/>
              <a:gd name="connsiteX806" fmla="*/ 9988168 w 12252288"/>
              <a:gd name="connsiteY806" fmla="*/ 492644 h 6891912"/>
              <a:gd name="connsiteX807" fmla="*/ 9986892 w 12252288"/>
              <a:gd name="connsiteY807" fmla="*/ 496473 h 6891912"/>
              <a:gd name="connsiteX808" fmla="*/ 9988168 w 12252288"/>
              <a:gd name="connsiteY808" fmla="*/ 500302 h 6891912"/>
              <a:gd name="connsiteX809" fmla="*/ 9991996 w 12252288"/>
              <a:gd name="connsiteY809" fmla="*/ 501578 h 6891912"/>
              <a:gd name="connsiteX810" fmla="*/ 9995824 w 12252288"/>
              <a:gd name="connsiteY810" fmla="*/ 500302 h 6891912"/>
              <a:gd name="connsiteX811" fmla="*/ 9997100 w 12252288"/>
              <a:gd name="connsiteY811" fmla="*/ 496473 h 6891912"/>
              <a:gd name="connsiteX812" fmla="*/ 9995824 w 12252288"/>
              <a:gd name="connsiteY812" fmla="*/ 492644 h 6891912"/>
              <a:gd name="connsiteX813" fmla="*/ 9991996 w 12252288"/>
              <a:gd name="connsiteY813" fmla="*/ 491368 h 6891912"/>
              <a:gd name="connsiteX814" fmla="*/ 11289972 w 12252288"/>
              <a:gd name="connsiteY814" fmla="*/ 490092 h 6891912"/>
              <a:gd name="connsiteX815" fmla="*/ 11289972 w 12252288"/>
              <a:gd name="connsiteY815" fmla="*/ 555182 h 6891912"/>
              <a:gd name="connsiteX816" fmla="*/ 11297632 w 12252288"/>
              <a:gd name="connsiteY816" fmla="*/ 555182 h 6891912"/>
              <a:gd name="connsiteX817" fmla="*/ 11297632 w 12252288"/>
              <a:gd name="connsiteY817" fmla="*/ 490092 h 6891912"/>
              <a:gd name="connsiteX818" fmla="*/ 10930062 w 12252288"/>
              <a:gd name="connsiteY818" fmla="*/ 490092 h 6891912"/>
              <a:gd name="connsiteX819" fmla="*/ 10930062 w 12252288"/>
              <a:gd name="connsiteY819" fmla="*/ 555182 h 6891912"/>
              <a:gd name="connsiteX820" fmla="*/ 10937720 w 12252288"/>
              <a:gd name="connsiteY820" fmla="*/ 555182 h 6891912"/>
              <a:gd name="connsiteX821" fmla="*/ 10937720 w 12252288"/>
              <a:gd name="connsiteY821" fmla="*/ 547524 h 6891912"/>
              <a:gd name="connsiteX822" fmla="*/ 10938996 w 12252288"/>
              <a:gd name="connsiteY822" fmla="*/ 547524 h 6891912"/>
              <a:gd name="connsiteX823" fmla="*/ 10944100 w 12252288"/>
              <a:gd name="connsiteY823" fmla="*/ 553906 h 6891912"/>
              <a:gd name="connsiteX824" fmla="*/ 10955588 w 12252288"/>
              <a:gd name="connsiteY824" fmla="*/ 556458 h 6891912"/>
              <a:gd name="connsiteX825" fmla="*/ 10965798 w 12252288"/>
              <a:gd name="connsiteY825" fmla="*/ 553906 h 6891912"/>
              <a:gd name="connsiteX826" fmla="*/ 10973456 w 12252288"/>
              <a:gd name="connsiteY826" fmla="*/ 546248 h 6891912"/>
              <a:gd name="connsiteX827" fmla="*/ 10976008 w 12252288"/>
              <a:gd name="connsiteY827" fmla="*/ 533485 h 6891912"/>
              <a:gd name="connsiteX828" fmla="*/ 10976008 w 12252288"/>
              <a:gd name="connsiteY828" fmla="*/ 532209 h 6891912"/>
              <a:gd name="connsiteX829" fmla="*/ 10974732 w 12252288"/>
              <a:gd name="connsiteY829" fmla="*/ 532209 h 6891912"/>
              <a:gd name="connsiteX830" fmla="*/ 10972180 w 12252288"/>
              <a:gd name="connsiteY830" fmla="*/ 519446 h 6891912"/>
              <a:gd name="connsiteX831" fmla="*/ 10964520 w 12252288"/>
              <a:gd name="connsiteY831" fmla="*/ 511788 h 6891912"/>
              <a:gd name="connsiteX832" fmla="*/ 10954312 w 12252288"/>
              <a:gd name="connsiteY832" fmla="*/ 509236 h 6891912"/>
              <a:gd name="connsiteX833" fmla="*/ 10946654 w 12252288"/>
              <a:gd name="connsiteY833" fmla="*/ 510512 h 6891912"/>
              <a:gd name="connsiteX834" fmla="*/ 10941548 w 12252288"/>
              <a:gd name="connsiteY834" fmla="*/ 513065 h 6891912"/>
              <a:gd name="connsiteX835" fmla="*/ 10938996 w 12252288"/>
              <a:gd name="connsiteY835" fmla="*/ 516893 h 6891912"/>
              <a:gd name="connsiteX836" fmla="*/ 10937720 w 12252288"/>
              <a:gd name="connsiteY836" fmla="*/ 516893 h 6891912"/>
              <a:gd name="connsiteX837" fmla="*/ 10937720 w 12252288"/>
              <a:gd name="connsiteY837" fmla="*/ 490092 h 6891912"/>
              <a:gd name="connsiteX838" fmla="*/ 10650556 w 12252288"/>
              <a:gd name="connsiteY838" fmla="*/ 490092 h 6891912"/>
              <a:gd name="connsiteX839" fmla="*/ 10650556 w 12252288"/>
              <a:gd name="connsiteY839" fmla="*/ 555182 h 6891912"/>
              <a:gd name="connsiteX840" fmla="*/ 10691398 w 12252288"/>
              <a:gd name="connsiteY840" fmla="*/ 555182 h 6891912"/>
              <a:gd name="connsiteX841" fmla="*/ 10691398 w 12252288"/>
              <a:gd name="connsiteY841" fmla="*/ 547524 h 6891912"/>
              <a:gd name="connsiteX842" fmla="*/ 10658214 w 12252288"/>
              <a:gd name="connsiteY842" fmla="*/ 547524 h 6891912"/>
              <a:gd name="connsiteX843" fmla="*/ 10658214 w 12252288"/>
              <a:gd name="connsiteY843" fmla="*/ 525827 h 6891912"/>
              <a:gd name="connsiteX844" fmla="*/ 10687568 w 12252288"/>
              <a:gd name="connsiteY844" fmla="*/ 525827 h 6891912"/>
              <a:gd name="connsiteX845" fmla="*/ 10687568 w 12252288"/>
              <a:gd name="connsiteY845" fmla="*/ 518170 h 6891912"/>
              <a:gd name="connsiteX846" fmla="*/ 10658214 w 12252288"/>
              <a:gd name="connsiteY846" fmla="*/ 518170 h 6891912"/>
              <a:gd name="connsiteX847" fmla="*/ 10658214 w 12252288"/>
              <a:gd name="connsiteY847" fmla="*/ 496473 h 6891912"/>
              <a:gd name="connsiteX848" fmla="*/ 10691398 w 12252288"/>
              <a:gd name="connsiteY848" fmla="*/ 496473 h 6891912"/>
              <a:gd name="connsiteX849" fmla="*/ 10691398 w 12252288"/>
              <a:gd name="connsiteY849" fmla="*/ 490092 h 6891912"/>
              <a:gd name="connsiteX850" fmla="*/ 10515272 w 12252288"/>
              <a:gd name="connsiteY850" fmla="*/ 490092 h 6891912"/>
              <a:gd name="connsiteX851" fmla="*/ 10508890 w 12252288"/>
              <a:gd name="connsiteY851" fmla="*/ 492644 h 6891912"/>
              <a:gd name="connsiteX852" fmla="*/ 10506336 w 12252288"/>
              <a:gd name="connsiteY852" fmla="*/ 497749 h 6891912"/>
              <a:gd name="connsiteX853" fmla="*/ 10506336 w 12252288"/>
              <a:gd name="connsiteY853" fmla="*/ 509236 h 6891912"/>
              <a:gd name="connsiteX854" fmla="*/ 10492298 w 12252288"/>
              <a:gd name="connsiteY854" fmla="*/ 509236 h 6891912"/>
              <a:gd name="connsiteX855" fmla="*/ 10492298 w 12252288"/>
              <a:gd name="connsiteY855" fmla="*/ 515617 h 6891912"/>
              <a:gd name="connsiteX856" fmla="*/ 10506336 w 12252288"/>
              <a:gd name="connsiteY856" fmla="*/ 515617 h 6891912"/>
              <a:gd name="connsiteX857" fmla="*/ 10506336 w 12252288"/>
              <a:gd name="connsiteY857" fmla="*/ 555182 h 6891912"/>
              <a:gd name="connsiteX858" fmla="*/ 10513994 w 12252288"/>
              <a:gd name="connsiteY858" fmla="*/ 555182 h 6891912"/>
              <a:gd name="connsiteX859" fmla="*/ 10513994 w 12252288"/>
              <a:gd name="connsiteY859" fmla="*/ 515617 h 6891912"/>
              <a:gd name="connsiteX860" fmla="*/ 10528034 w 12252288"/>
              <a:gd name="connsiteY860" fmla="*/ 515617 h 6891912"/>
              <a:gd name="connsiteX861" fmla="*/ 10528034 w 12252288"/>
              <a:gd name="connsiteY861" fmla="*/ 509236 h 6891912"/>
              <a:gd name="connsiteX862" fmla="*/ 10515272 w 12252288"/>
              <a:gd name="connsiteY862" fmla="*/ 509236 h 6891912"/>
              <a:gd name="connsiteX863" fmla="*/ 10515272 w 12252288"/>
              <a:gd name="connsiteY863" fmla="*/ 499025 h 6891912"/>
              <a:gd name="connsiteX864" fmla="*/ 10517824 w 12252288"/>
              <a:gd name="connsiteY864" fmla="*/ 496473 h 6891912"/>
              <a:gd name="connsiteX865" fmla="*/ 10526756 w 12252288"/>
              <a:gd name="connsiteY865" fmla="*/ 496473 h 6891912"/>
              <a:gd name="connsiteX866" fmla="*/ 10526756 w 12252288"/>
              <a:gd name="connsiteY866" fmla="*/ 490092 h 6891912"/>
              <a:gd name="connsiteX867" fmla="*/ 10046876 w 12252288"/>
              <a:gd name="connsiteY867" fmla="*/ 490092 h 6891912"/>
              <a:gd name="connsiteX868" fmla="*/ 10046876 w 12252288"/>
              <a:gd name="connsiteY868" fmla="*/ 516893 h 6891912"/>
              <a:gd name="connsiteX869" fmla="*/ 10045600 w 12252288"/>
              <a:gd name="connsiteY869" fmla="*/ 516893 h 6891912"/>
              <a:gd name="connsiteX870" fmla="*/ 10043048 w 12252288"/>
              <a:gd name="connsiteY870" fmla="*/ 513065 h 6891912"/>
              <a:gd name="connsiteX871" fmla="*/ 10037942 w 12252288"/>
              <a:gd name="connsiteY871" fmla="*/ 510512 h 6891912"/>
              <a:gd name="connsiteX872" fmla="*/ 10030284 w 12252288"/>
              <a:gd name="connsiteY872" fmla="*/ 509236 h 6891912"/>
              <a:gd name="connsiteX873" fmla="*/ 10020074 w 12252288"/>
              <a:gd name="connsiteY873" fmla="*/ 511788 h 6891912"/>
              <a:gd name="connsiteX874" fmla="*/ 10012416 w 12252288"/>
              <a:gd name="connsiteY874" fmla="*/ 519446 h 6891912"/>
              <a:gd name="connsiteX875" fmla="*/ 10009864 w 12252288"/>
              <a:gd name="connsiteY875" fmla="*/ 532209 h 6891912"/>
              <a:gd name="connsiteX876" fmla="*/ 10009864 w 12252288"/>
              <a:gd name="connsiteY876" fmla="*/ 533485 h 6891912"/>
              <a:gd name="connsiteX877" fmla="*/ 10012416 w 12252288"/>
              <a:gd name="connsiteY877" fmla="*/ 546248 h 6891912"/>
              <a:gd name="connsiteX878" fmla="*/ 10020074 w 12252288"/>
              <a:gd name="connsiteY878" fmla="*/ 553906 h 6891912"/>
              <a:gd name="connsiteX879" fmla="*/ 10030284 w 12252288"/>
              <a:gd name="connsiteY879" fmla="*/ 556458 h 6891912"/>
              <a:gd name="connsiteX880" fmla="*/ 10040496 w 12252288"/>
              <a:gd name="connsiteY880" fmla="*/ 553906 h 6891912"/>
              <a:gd name="connsiteX881" fmla="*/ 10045600 w 12252288"/>
              <a:gd name="connsiteY881" fmla="*/ 547524 h 6891912"/>
              <a:gd name="connsiteX882" fmla="*/ 10046876 w 12252288"/>
              <a:gd name="connsiteY882" fmla="*/ 547524 h 6891912"/>
              <a:gd name="connsiteX883" fmla="*/ 10046876 w 12252288"/>
              <a:gd name="connsiteY883" fmla="*/ 555182 h 6891912"/>
              <a:gd name="connsiteX884" fmla="*/ 10054534 w 12252288"/>
              <a:gd name="connsiteY884" fmla="*/ 555182 h 6891912"/>
              <a:gd name="connsiteX885" fmla="*/ 10054534 w 12252288"/>
              <a:gd name="connsiteY885" fmla="*/ 490092 h 6891912"/>
              <a:gd name="connsiteX886" fmla="*/ 11514598 w 12252288"/>
              <a:gd name="connsiteY886" fmla="*/ 488815 h 6891912"/>
              <a:gd name="connsiteX887" fmla="*/ 11514598 w 12252288"/>
              <a:gd name="connsiteY887" fmla="*/ 496473 h 6891912"/>
              <a:gd name="connsiteX888" fmla="*/ 11523532 w 12252288"/>
              <a:gd name="connsiteY888" fmla="*/ 496473 h 6891912"/>
              <a:gd name="connsiteX889" fmla="*/ 11523532 w 12252288"/>
              <a:gd name="connsiteY889" fmla="*/ 548800 h 6891912"/>
              <a:gd name="connsiteX890" fmla="*/ 11514598 w 12252288"/>
              <a:gd name="connsiteY890" fmla="*/ 548800 h 6891912"/>
              <a:gd name="connsiteX891" fmla="*/ 11514598 w 12252288"/>
              <a:gd name="connsiteY891" fmla="*/ 553906 h 6891912"/>
              <a:gd name="connsiteX892" fmla="*/ 11547780 w 12252288"/>
              <a:gd name="connsiteY892" fmla="*/ 553906 h 6891912"/>
              <a:gd name="connsiteX893" fmla="*/ 11557992 w 12252288"/>
              <a:gd name="connsiteY893" fmla="*/ 551353 h 6891912"/>
              <a:gd name="connsiteX894" fmla="*/ 11565650 w 12252288"/>
              <a:gd name="connsiteY894" fmla="*/ 546248 h 6891912"/>
              <a:gd name="connsiteX895" fmla="*/ 11568202 w 12252288"/>
              <a:gd name="connsiteY895" fmla="*/ 537314 h 6891912"/>
              <a:gd name="connsiteX896" fmla="*/ 11568202 w 12252288"/>
              <a:gd name="connsiteY896" fmla="*/ 536038 h 6891912"/>
              <a:gd name="connsiteX897" fmla="*/ 11565650 w 12252288"/>
              <a:gd name="connsiteY897" fmla="*/ 528380 h 6891912"/>
              <a:gd name="connsiteX898" fmla="*/ 11561820 w 12252288"/>
              <a:gd name="connsiteY898" fmla="*/ 524551 h 6891912"/>
              <a:gd name="connsiteX899" fmla="*/ 11556716 w 12252288"/>
              <a:gd name="connsiteY899" fmla="*/ 521999 h 6891912"/>
              <a:gd name="connsiteX900" fmla="*/ 11556716 w 12252288"/>
              <a:gd name="connsiteY900" fmla="*/ 520722 h 6891912"/>
              <a:gd name="connsiteX901" fmla="*/ 11561820 w 12252288"/>
              <a:gd name="connsiteY901" fmla="*/ 518170 h 6891912"/>
              <a:gd name="connsiteX902" fmla="*/ 11565650 w 12252288"/>
              <a:gd name="connsiteY902" fmla="*/ 514341 h 6891912"/>
              <a:gd name="connsiteX903" fmla="*/ 11568202 w 12252288"/>
              <a:gd name="connsiteY903" fmla="*/ 505407 h 6891912"/>
              <a:gd name="connsiteX904" fmla="*/ 11565650 w 12252288"/>
              <a:gd name="connsiteY904" fmla="*/ 496473 h 6891912"/>
              <a:gd name="connsiteX905" fmla="*/ 11557992 w 12252288"/>
              <a:gd name="connsiteY905" fmla="*/ 491368 h 6891912"/>
              <a:gd name="connsiteX906" fmla="*/ 11547780 w 12252288"/>
              <a:gd name="connsiteY906" fmla="*/ 488815 h 6891912"/>
              <a:gd name="connsiteX907" fmla="*/ 9970300 w 12252288"/>
              <a:gd name="connsiteY907" fmla="*/ 488815 h 6891912"/>
              <a:gd name="connsiteX908" fmla="*/ 9952432 w 12252288"/>
              <a:gd name="connsiteY908" fmla="*/ 550077 h 6891912"/>
              <a:gd name="connsiteX909" fmla="*/ 9951156 w 12252288"/>
              <a:gd name="connsiteY909" fmla="*/ 550077 h 6891912"/>
              <a:gd name="connsiteX910" fmla="*/ 9933288 w 12252288"/>
              <a:gd name="connsiteY910" fmla="*/ 490092 h 6891912"/>
              <a:gd name="connsiteX911" fmla="*/ 9925630 w 12252288"/>
              <a:gd name="connsiteY911" fmla="*/ 490092 h 6891912"/>
              <a:gd name="connsiteX912" fmla="*/ 9946050 w 12252288"/>
              <a:gd name="connsiteY912" fmla="*/ 555182 h 6891912"/>
              <a:gd name="connsiteX913" fmla="*/ 9946050 w 12252288"/>
              <a:gd name="connsiteY913" fmla="*/ 553906 h 6891912"/>
              <a:gd name="connsiteX914" fmla="*/ 9960088 w 12252288"/>
              <a:gd name="connsiteY914" fmla="*/ 553906 h 6891912"/>
              <a:gd name="connsiteX915" fmla="*/ 9977956 w 12252288"/>
              <a:gd name="connsiteY915" fmla="*/ 488815 h 6891912"/>
              <a:gd name="connsiteX916" fmla="*/ 9951156 w 12252288"/>
              <a:gd name="connsiteY916" fmla="*/ 356082 h 6891912"/>
              <a:gd name="connsiteX917" fmla="*/ 9980510 w 12252288"/>
              <a:gd name="connsiteY917" fmla="*/ 356082 h 6891912"/>
              <a:gd name="connsiteX918" fmla="*/ 9993272 w 12252288"/>
              <a:gd name="connsiteY918" fmla="*/ 359911 h 6891912"/>
              <a:gd name="connsiteX919" fmla="*/ 9998378 w 12252288"/>
              <a:gd name="connsiteY919" fmla="*/ 371398 h 6891912"/>
              <a:gd name="connsiteX920" fmla="*/ 9998378 w 12252288"/>
              <a:gd name="connsiteY920" fmla="*/ 372674 h 6891912"/>
              <a:gd name="connsiteX921" fmla="*/ 9993272 w 12252288"/>
              <a:gd name="connsiteY921" fmla="*/ 384160 h 6891912"/>
              <a:gd name="connsiteX922" fmla="*/ 9980510 w 12252288"/>
              <a:gd name="connsiteY922" fmla="*/ 387989 h 6891912"/>
              <a:gd name="connsiteX923" fmla="*/ 9951156 w 12252288"/>
              <a:gd name="connsiteY923" fmla="*/ 387989 h 6891912"/>
              <a:gd name="connsiteX924" fmla="*/ 9517220 w 12252288"/>
              <a:gd name="connsiteY924" fmla="*/ 350977 h 6891912"/>
              <a:gd name="connsiteX925" fmla="*/ 9517220 w 12252288"/>
              <a:gd name="connsiteY925" fmla="*/ 495197 h 6891912"/>
              <a:gd name="connsiteX926" fmla="*/ 9582310 w 12252288"/>
              <a:gd name="connsiteY926" fmla="*/ 585813 h 6891912"/>
              <a:gd name="connsiteX927" fmla="*/ 9582310 w 12252288"/>
              <a:gd name="connsiteY927" fmla="*/ 440317 h 6891912"/>
              <a:gd name="connsiteX928" fmla="*/ 9703556 w 12252288"/>
              <a:gd name="connsiteY928" fmla="*/ 344596 h 6891912"/>
              <a:gd name="connsiteX929" fmla="*/ 9589968 w 12252288"/>
              <a:gd name="connsiteY929" fmla="*/ 440317 h 6891912"/>
              <a:gd name="connsiteX930" fmla="*/ 9589968 w 12252288"/>
              <a:gd name="connsiteY930" fmla="*/ 593470 h 6891912"/>
              <a:gd name="connsiteX931" fmla="*/ 9814592 w 12252288"/>
              <a:gd name="connsiteY931" fmla="*/ 566668 h 6891912"/>
              <a:gd name="connsiteX932" fmla="*/ 9814592 w 12252288"/>
              <a:gd name="connsiteY932" fmla="*/ 413515 h 6891912"/>
              <a:gd name="connsiteX933" fmla="*/ 9815868 w 12252288"/>
              <a:gd name="connsiteY933" fmla="*/ 413515 h 6891912"/>
              <a:gd name="connsiteX934" fmla="*/ 10166846 w 12252288"/>
              <a:gd name="connsiteY934" fmla="*/ 339491 h 6891912"/>
              <a:gd name="connsiteX935" fmla="*/ 10183438 w 12252288"/>
              <a:gd name="connsiteY935" fmla="*/ 345872 h 6891912"/>
              <a:gd name="connsiteX936" fmla="*/ 10191096 w 12252288"/>
              <a:gd name="connsiteY936" fmla="*/ 363740 h 6891912"/>
              <a:gd name="connsiteX937" fmla="*/ 10191096 w 12252288"/>
              <a:gd name="connsiteY937" fmla="*/ 365016 h 6891912"/>
              <a:gd name="connsiteX938" fmla="*/ 10183438 w 12252288"/>
              <a:gd name="connsiteY938" fmla="*/ 382884 h 6891912"/>
              <a:gd name="connsiteX939" fmla="*/ 10166846 w 12252288"/>
              <a:gd name="connsiteY939" fmla="*/ 389265 h 6891912"/>
              <a:gd name="connsiteX940" fmla="*/ 10148980 w 12252288"/>
              <a:gd name="connsiteY940" fmla="*/ 382884 h 6891912"/>
              <a:gd name="connsiteX941" fmla="*/ 10141320 w 12252288"/>
              <a:gd name="connsiteY941" fmla="*/ 365016 h 6891912"/>
              <a:gd name="connsiteX942" fmla="*/ 10141320 w 12252288"/>
              <a:gd name="connsiteY942" fmla="*/ 363740 h 6891912"/>
              <a:gd name="connsiteX943" fmla="*/ 10148980 w 12252288"/>
              <a:gd name="connsiteY943" fmla="*/ 345872 h 6891912"/>
              <a:gd name="connsiteX944" fmla="*/ 10166846 w 12252288"/>
              <a:gd name="connsiteY944" fmla="*/ 339491 h 6891912"/>
              <a:gd name="connsiteX945" fmla="*/ 11217224 w 12252288"/>
              <a:gd name="connsiteY945" fmla="*/ 338214 h 6891912"/>
              <a:gd name="connsiteX946" fmla="*/ 11233816 w 12252288"/>
              <a:gd name="connsiteY946" fmla="*/ 344596 h 6891912"/>
              <a:gd name="connsiteX947" fmla="*/ 11241474 w 12252288"/>
              <a:gd name="connsiteY947" fmla="*/ 362464 h 6891912"/>
              <a:gd name="connsiteX948" fmla="*/ 11241474 w 12252288"/>
              <a:gd name="connsiteY948" fmla="*/ 363740 h 6891912"/>
              <a:gd name="connsiteX949" fmla="*/ 11233816 w 12252288"/>
              <a:gd name="connsiteY949" fmla="*/ 381608 h 6891912"/>
              <a:gd name="connsiteX950" fmla="*/ 11217224 w 12252288"/>
              <a:gd name="connsiteY950" fmla="*/ 387989 h 6891912"/>
              <a:gd name="connsiteX951" fmla="*/ 11199356 w 12252288"/>
              <a:gd name="connsiteY951" fmla="*/ 381608 h 6891912"/>
              <a:gd name="connsiteX952" fmla="*/ 11191700 w 12252288"/>
              <a:gd name="connsiteY952" fmla="*/ 363740 h 6891912"/>
              <a:gd name="connsiteX953" fmla="*/ 11191700 w 12252288"/>
              <a:gd name="connsiteY953" fmla="*/ 362464 h 6891912"/>
              <a:gd name="connsiteX954" fmla="*/ 11199356 w 12252288"/>
              <a:gd name="connsiteY954" fmla="*/ 344596 h 6891912"/>
              <a:gd name="connsiteX955" fmla="*/ 11217224 w 12252288"/>
              <a:gd name="connsiteY955" fmla="*/ 338214 h 6891912"/>
              <a:gd name="connsiteX956" fmla="*/ 11057690 w 12252288"/>
              <a:gd name="connsiteY956" fmla="*/ 338214 h 6891912"/>
              <a:gd name="connsiteX957" fmla="*/ 11071728 w 12252288"/>
              <a:gd name="connsiteY957" fmla="*/ 343319 h 6891912"/>
              <a:gd name="connsiteX958" fmla="*/ 11076834 w 12252288"/>
              <a:gd name="connsiteY958" fmla="*/ 356082 h 6891912"/>
              <a:gd name="connsiteX959" fmla="*/ 11034716 w 12252288"/>
              <a:gd name="connsiteY959" fmla="*/ 356082 h 6891912"/>
              <a:gd name="connsiteX960" fmla="*/ 11042376 w 12252288"/>
              <a:gd name="connsiteY960" fmla="*/ 343319 h 6891912"/>
              <a:gd name="connsiteX961" fmla="*/ 11057690 w 12252288"/>
              <a:gd name="connsiteY961" fmla="*/ 338214 h 6891912"/>
              <a:gd name="connsiteX962" fmla="*/ 10720752 w 12252288"/>
              <a:gd name="connsiteY962" fmla="*/ 338214 h 6891912"/>
              <a:gd name="connsiteX963" fmla="*/ 10737344 w 12252288"/>
              <a:gd name="connsiteY963" fmla="*/ 344596 h 6891912"/>
              <a:gd name="connsiteX964" fmla="*/ 10745002 w 12252288"/>
              <a:gd name="connsiteY964" fmla="*/ 362464 h 6891912"/>
              <a:gd name="connsiteX965" fmla="*/ 10745002 w 12252288"/>
              <a:gd name="connsiteY965" fmla="*/ 363740 h 6891912"/>
              <a:gd name="connsiteX966" fmla="*/ 10737344 w 12252288"/>
              <a:gd name="connsiteY966" fmla="*/ 381608 h 6891912"/>
              <a:gd name="connsiteX967" fmla="*/ 10720752 w 12252288"/>
              <a:gd name="connsiteY967" fmla="*/ 387989 h 6891912"/>
              <a:gd name="connsiteX968" fmla="*/ 10702884 w 12252288"/>
              <a:gd name="connsiteY968" fmla="*/ 381608 h 6891912"/>
              <a:gd name="connsiteX969" fmla="*/ 10695226 w 12252288"/>
              <a:gd name="connsiteY969" fmla="*/ 363740 h 6891912"/>
              <a:gd name="connsiteX970" fmla="*/ 10695226 w 12252288"/>
              <a:gd name="connsiteY970" fmla="*/ 362464 h 6891912"/>
              <a:gd name="connsiteX971" fmla="*/ 10702884 w 12252288"/>
              <a:gd name="connsiteY971" fmla="*/ 344596 h 6891912"/>
              <a:gd name="connsiteX972" fmla="*/ 10720752 w 12252288"/>
              <a:gd name="connsiteY972" fmla="*/ 338214 h 6891912"/>
              <a:gd name="connsiteX973" fmla="*/ 10618650 w 12252288"/>
              <a:gd name="connsiteY973" fmla="*/ 338214 h 6891912"/>
              <a:gd name="connsiteX974" fmla="*/ 10635240 w 12252288"/>
              <a:gd name="connsiteY974" fmla="*/ 345872 h 6891912"/>
              <a:gd name="connsiteX975" fmla="*/ 10641622 w 12252288"/>
              <a:gd name="connsiteY975" fmla="*/ 365016 h 6891912"/>
              <a:gd name="connsiteX976" fmla="*/ 10641622 w 12252288"/>
              <a:gd name="connsiteY976" fmla="*/ 366292 h 6891912"/>
              <a:gd name="connsiteX977" fmla="*/ 10635240 w 12252288"/>
              <a:gd name="connsiteY977" fmla="*/ 385437 h 6891912"/>
              <a:gd name="connsiteX978" fmla="*/ 10618650 w 12252288"/>
              <a:gd name="connsiteY978" fmla="*/ 391818 h 6891912"/>
              <a:gd name="connsiteX979" fmla="*/ 10602058 w 12252288"/>
              <a:gd name="connsiteY979" fmla="*/ 385437 h 6891912"/>
              <a:gd name="connsiteX980" fmla="*/ 10595676 w 12252288"/>
              <a:gd name="connsiteY980" fmla="*/ 366292 h 6891912"/>
              <a:gd name="connsiteX981" fmla="*/ 10595676 w 12252288"/>
              <a:gd name="connsiteY981" fmla="*/ 365016 h 6891912"/>
              <a:gd name="connsiteX982" fmla="*/ 10602058 w 12252288"/>
              <a:gd name="connsiteY982" fmla="*/ 345872 h 6891912"/>
              <a:gd name="connsiteX983" fmla="*/ 10618650 w 12252288"/>
              <a:gd name="connsiteY983" fmla="*/ 338214 h 6891912"/>
              <a:gd name="connsiteX984" fmla="*/ 10376156 w 12252288"/>
              <a:gd name="connsiteY984" fmla="*/ 338214 h 6891912"/>
              <a:gd name="connsiteX985" fmla="*/ 10390196 w 12252288"/>
              <a:gd name="connsiteY985" fmla="*/ 343319 h 6891912"/>
              <a:gd name="connsiteX986" fmla="*/ 10395300 w 12252288"/>
              <a:gd name="connsiteY986" fmla="*/ 356082 h 6891912"/>
              <a:gd name="connsiteX987" fmla="*/ 10353184 w 12252288"/>
              <a:gd name="connsiteY987" fmla="*/ 356082 h 6891912"/>
              <a:gd name="connsiteX988" fmla="*/ 10360840 w 12252288"/>
              <a:gd name="connsiteY988" fmla="*/ 343319 h 6891912"/>
              <a:gd name="connsiteX989" fmla="*/ 10376156 w 12252288"/>
              <a:gd name="connsiteY989" fmla="*/ 338214 h 6891912"/>
              <a:gd name="connsiteX990" fmla="*/ 10272778 w 12252288"/>
              <a:gd name="connsiteY990" fmla="*/ 338214 h 6891912"/>
              <a:gd name="connsiteX991" fmla="*/ 10289370 w 12252288"/>
              <a:gd name="connsiteY991" fmla="*/ 344596 h 6891912"/>
              <a:gd name="connsiteX992" fmla="*/ 10297028 w 12252288"/>
              <a:gd name="connsiteY992" fmla="*/ 362464 h 6891912"/>
              <a:gd name="connsiteX993" fmla="*/ 10297028 w 12252288"/>
              <a:gd name="connsiteY993" fmla="*/ 363740 h 6891912"/>
              <a:gd name="connsiteX994" fmla="*/ 10289370 w 12252288"/>
              <a:gd name="connsiteY994" fmla="*/ 381608 h 6891912"/>
              <a:gd name="connsiteX995" fmla="*/ 10272778 w 12252288"/>
              <a:gd name="connsiteY995" fmla="*/ 387989 h 6891912"/>
              <a:gd name="connsiteX996" fmla="*/ 10254910 w 12252288"/>
              <a:gd name="connsiteY996" fmla="*/ 381608 h 6891912"/>
              <a:gd name="connsiteX997" fmla="*/ 10247252 w 12252288"/>
              <a:gd name="connsiteY997" fmla="*/ 363740 h 6891912"/>
              <a:gd name="connsiteX998" fmla="*/ 10247252 w 12252288"/>
              <a:gd name="connsiteY998" fmla="*/ 362464 h 6891912"/>
              <a:gd name="connsiteX999" fmla="*/ 10254910 w 12252288"/>
              <a:gd name="connsiteY999" fmla="*/ 344596 h 6891912"/>
              <a:gd name="connsiteX1000" fmla="*/ 10272778 w 12252288"/>
              <a:gd name="connsiteY1000" fmla="*/ 338214 h 6891912"/>
              <a:gd name="connsiteX1001" fmla="*/ 11282316 w 12252288"/>
              <a:gd name="connsiteY1001" fmla="*/ 324175 h 6891912"/>
              <a:gd name="connsiteX1002" fmla="*/ 11282316 w 12252288"/>
              <a:gd name="connsiteY1002" fmla="*/ 407133 h 6891912"/>
              <a:gd name="connsiteX1003" fmla="*/ 11301460 w 12252288"/>
              <a:gd name="connsiteY1003" fmla="*/ 407133 h 6891912"/>
              <a:gd name="connsiteX1004" fmla="*/ 11301460 w 12252288"/>
              <a:gd name="connsiteY1004" fmla="*/ 324175 h 6891912"/>
              <a:gd name="connsiteX1005" fmla="*/ 11154688 w 12252288"/>
              <a:gd name="connsiteY1005" fmla="*/ 324175 h 6891912"/>
              <a:gd name="connsiteX1006" fmla="*/ 11144476 w 12252288"/>
              <a:gd name="connsiteY1006" fmla="*/ 326728 h 6891912"/>
              <a:gd name="connsiteX1007" fmla="*/ 11138096 w 12252288"/>
              <a:gd name="connsiteY1007" fmla="*/ 334385 h 6891912"/>
              <a:gd name="connsiteX1008" fmla="*/ 11135544 w 12252288"/>
              <a:gd name="connsiteY1008" fmla="*/ 334385 h 6891912"/>
              <a:gd name="connsiteX1009" fmla="*/ 11135544 w 12252288"/>
              <a:gd name="connsiteY1009" fmla="*/ 325451 h 6891912"/>
              <a:gd name="connsiteX1010" fmla="*/ 11116400 w 12252288"/>
              <a:gd name="connsiteY1010" fmla="*/ 325451 h 6891912"/>
              <a:gd name="connsiteX1011" fmla="*/ 11116400 w 12252288"/>
              <a:gd name="connsiteY1011" fmla="*/ 407133 h 6891912"/>
              <a:gd name="connsiteX1012" fmla="*/ 11136820 w 12252288"/>
              <a:gd name="connsiteY1012" fmla="*/ 407133 h 6891912"/>
              <a:gd name="connsiteX1013" fmla="*/ 11136820 w 12252288"/>
              <a:gd name="connsiteY1013" fmla="*/ 357358 h 6891912"/>
              <a:gd name="connsiteX1014" fmla="*/ 11140648 w 12252288"/>
              <a:gd name="connsiteY1014" fmla="*/ 344596 h 6891912"/>
              <a:gd name="connsiteX1015" fmla="*/ 11154688 w 12252288"/>
              <a:gd name="connsiteY1015" fmla="*/ 340767 h 6891912"/>
              <a:gd name="connsiteX1016" fmla="*/ 11164896 w 12252288"/>
              <a:gd name="connsiteY1016" fmla="*/ 340767 h 6891912"/>
              <a:gd name="connsiteX1017" fmla="*/ 11164896 w 12252288"/>
              <a:gd name="connsiteY1017" fmla="*/ 324175 h 6891912"/>
              <a:gd name="connsiteX1018" fmla="*/ 10967074 w 12252288"/>
              <a:gd name="connsiteY1018" fmla="*/ 324175 h 6891912"/>
              <a:gd name="connsiteX1019" fmla="*/ 10950482 w 12252288"/>
              <a:gd name="connsiteY1019" fmla="*/ 328004 h 6891912"/>
              <a:gd name="connsiteX1020" fmla="*/ 10942824 w 12252288"/>
              <a:gd name="connsiteY1020" fmla="*/ 336938 h 6891912"/>
              <a:gd name="connsiteX1021" fmla="*/ 10937720 w 12252288"/>
              <a:gd name="connsiteY1021" fmla="*/ 336938 h 6891912"/>
              <a:gd name="connsiteX1022" fmla="*/ 10937720 w 12252288"/>
              <a:gd name="connsiteY1022" fmla="*/ 325451 h 6891912"/>
              <a:gd name="connsiteX1023" fmla="*/ 10918576 w 12252288"/>
              <a:gd name="connsiteY1023" fmla="*/ 325451 h 6891912"/>
              <a:gd name="connsiteX1024" fmla="*/ 10918576 w 12252288"/>
              <a:gd name="connsiteY1024" fmla="*/ 408410 h 6891912"/>
              <a:gd name="connsiteX1025" fmla="*/ 10918576 w 12252288"/>
              <a:gd name="connsiteY1025" fmla="*/ 409686 h 6891912"/>
              <a:gd name="connsiteX1026" fmla="*/ 10937720 w 12252288"/>
              <a:gd name="connsiteY1026" fmla="*/ 409686 h 6891912"/>
              <a:gd name="connsiteX1027" fmla="*/ 10937720 w 12252288"/>
              <a:gd name="connsiteY1027" fmla="*/ 367569 h 6891912"/>
              <a:gd name="connsiteX1028" fmla="*/ 10942824 w 12252288"/>
              <a:gd name="connsiteY1028" fmla="*/ 348424 h 6891912"/>
              <a:gd name="connsiteX1029" fmla="*/ 10959416 w 12252288"/>
              <a:gd name="connsiteY1029" fmla="*/ 340767 h 6891912"/>
              <a:gd name="connsiteX1030" fmla="*/ 10973456 w 12252288"/>
              <a:gd name="connsiteY1030" fmla="*/ 345872 h 6891912"/>
              <a:gd name="connsiteX1031" fmla="*/ 10979836 w 12252288"/>
              <a:gd name="connsiteY1031" fmla="*/ 358635 h 6891912"/>
              <a:gd name="connsiteX1032" fmla="*/ 10979836 w 12252288"/>
              <a:gd name="connsiteY1032" fmla="*/ 407133 h 6891912"/>
              <a:gd name="connsiteX1033" fmla="*/ 10998980 w 12252288"/>
              <a:gd name="connsiteY1033" fmla="*/ 407133 h 6891912"/>
              <a:gd name="connsiteX1034" fmla="*/ 10998980 w 12252288"/>
              <a:gd name="connsiteY1034" fmla="*/ 357358 h 6891912"/>
              <a:gd name="connsiteX1035" fmla="*/ 10995152 w 12252288"/>
              <a:gd name="connsiteY1035" fmla="*/ 339491 h 6891912"/>
              <a:gd name="connsiteX1036" fmla="*/ 10983664 w 12252288"/>
              <a:gd name="connsiteY1036" fmla="*/ 328004 h 6891912"/>
              <a:gd name="connsiteX1037" fmla="*/ 10967074 w 12252288"/>
              <a:gd name="connsiteY1037" fmla="*/ 324175 h 6891912"/>
              <a:gd name="connsiteX1038" fmla="*/ 10497404 w 12252288"/>
              <a:gd name="connsiteY1038" fmla="*/ 324175 h 6891912"/>
              <a:gd name="connsiteX1039" fmla="*/ 10497404 w 12252288"/>
              <a:gd name="connsiteY1039" fmla="*/ 407133 h 6891912"/>
              <a:gd name="connsiteX1040" fmla="*/ 10516548 w 12252288"/>
              <a:gd name="connsiteY1040" fmla="*/ 407133 h 6891912"/>
              <a:gd name="connsiteX1041" fmla="*/ 10516548 w 12252288"/>
              <a:gd name="connsiteY1041" fmla="*/ 324175 h 6891912"/>
              <a:gd name="connsiteX1042" fmla="*/ 10471876 w 12252288"/>
              <a:gd name="connsiteY1042" fmla="*/ 322899 h 6891912"/>
              <a:gd name="connsiteX1043" fmla="*/ 10461668 w 12252288"/>
              <a:gd name="connsiteY1043" fmla="*/ 325451 h 6891912"/>
              <a:gd name="connsiteX1044" fmla="*/ 10455286 w 12252288"/>
              <a:gd name="connsiteY1044" fmla="*/ 333109 h 6891912"/>
              <a:gd name="connsiteX1045" fmla="*/ 10452732 w 12252288"/>
              <a:gd name="connsiteY1045" fmla="*/ 333109 h 6891912"/>
              <a:gd name="connsiteX1046" fmla="*/ 10452732 w 12252288"/>
              <a:gd name="connsiteY1046" fmla="*/ 324175 h 6891912"/>
              <a:gd name="connsiteX1047" fmla="*/ 10433588 w 12252288"/>
              <a:gd name="connsiteY1047" fmla="*/ 324175 h 6891912"/>
              <a:gd name="connsiteX1048" fmla="*/ 10433588 w 12252288"/>
              <a:gd name="connsiteY1048" fmla="*/ 405857 h 6891912"/>
              <a:gd name="connsiteX1049" fmla="*/ 10454008 w 12252288"/>
              <a:gd name="connsiteY1049" fmla="*/ 405857 h 6891912"/>
              <a:gd name="connsiteX1050" fmla="*/ 10454008 w 12252288"/>
              <a:gd name="connsiteY1050" fmla="*/ 357358 h 6891912"/>
              <a:gd name="connsiteX1051" fmla="*/ 10459116 w 12252288"/>
              <a:gd name="connsiteY1051" fmla="*/ 343319 h 6891912"/>
              <a:gd name="connsiteX1052" fmla="*/ 10473152 w 12252288"/>
              <a:gd name="connsiteY1052" fmla="*/ 339491 h 6891912"/>
              <a:gd name="connsiteX1053" fmla="*/ 10483364 w 12252288"/>
              <a:gd name="connsiteY1053" fmla="*/ 339491 h 6891912"/>
              <a:gd name="connsiteX1054" fmla="*/ 10483364 w 12252288"/>
              <a:gd name="connsiteY1054" fmla="*/ 322899 h 6891912"/>
              <a:gd name="connsiteX1055" fmla="*/ 10482088 w 12252288"/>
              <a:gd name="connsiteY1055" fmla="*/ 322899 h 6891912"/>
              <a:gd name="connsiteX1056" fmla="*/ 10027732 w 12252288"/>
              <a:gd name="connsiteY1056" fmla="*/ 322899 h 6891912"/>
              <a:gd name="connsiteX1057" fmla="*/ 10062192 w 12252288"/>
              <a:gd name="connsiteY1057" fmla="*/ 412238 h 6891912"/>
              <a:gd name="connsiteX1058" fmla="*/ 10059640 w 12252288"/>
              <a:gd name="connsiteY1058" fmla="*/ 417344 h 6891912"/>
              <a:gd name="connsiteX1059" fmla="*/ 10057086 w 12252288"/>
              <a:gd name="connsiteY1059" fmla="*/ 421172 h 6891912"/>
              <a:gd name="connsiteX1060" fmla="*/ 10051980 w 12252288"/>
              <a:gd name="connsiteY1060" fmla="*/ 422449 h 6891912"/>
              <a:gd name="connsiteX1061" fmla="*/ 10036666 w 12252288"/>
              <a:gd name="connsiteY1061" fmla="*/ 422449 h 6891912"/>
              <a:gd name="connsiteX1062" fmla="*/ 10036666 w 12252288"/>
              <a:gd name="connsiteY1062" fmla="*/ 439040 h 6891912"/>
              <a:gd name="connsiteX1063" fmla="*/ 10054534 w 12252288"/>
              <a:gd name="connsiteY1063" fmla="*/ 439040 h 6891912"/>
              <a:gd name="connsiteX1064" fmla="*/ 10068572 w 12252288"/>
              <a:gd name="connsiteY1064" fmla="*/ 435211 h 6891912"/>
              <a:gd name="connsiteX1065" fmla="*/ 10076232 w 12252288"/>
              <a:gd name="connsiteY1065" fmla="*/ 425001 h 6891912"/>
              <a:gd name="connsiteX1066" fmla="*/ 10115796 w 12252288"/>
              <a:gd name="connsiteY1066" fmla="*/ 322899 h 6891912"/>
              <a:gd name="connsiteX1067" fmla="*/ 10095376 w 12252288"/>
              <a:gd name="connsiteY1067" fmla="*/ 322899 h 6891912"/>
              <a:gd name="connsiteX1068" fmla="*/ 10073678 w 12252288"/>
              <a:gd name="connsiteY1068" fmla="*/ 384160 h 6891912"/>
              <a:gd name="connsiteX1069" fmla="*/ 10069848 w 12252288"/>
              <a:gd name="connsiteY1069" fmla="*/ 384160 h 6891912"/>
              <a:gd name="connsiteX1070" fmla="*/ 10048152 w 12252288"/>
              <a:gd name="connsiteY1070" fmla="*/ 322899 h 6891912"/>
              <a:gd name="connsiteX1071" fmla="*/ 10716924 w 12252288"/>
              <a:gd name="connsiteY1071" fmla="*/ 321623 h 6891912"/>
              <a:gd name="connsiteX1072" fmla="*/ 10697780 w 12252288"/>
              <a:gd name="connsiteY1072" fmla="*/ 326728 h 6891912"/>
              <a:gd name="connsiteX1073" fmla="*/ 10683740 w 12252288"/>
              <a:gd name="connsiteY1073" fmla="*/ 340767 h 6891912"/>
              <a:gd name="connsiteX1074" fmla="*/ 10678636 w 12252288"/>
              <a:gd name="connsiteY1074" fmla="*/ 362464 h 6891912"/>
              <a:gd name="connsiteX1075" fmla="*/ 10678636 w 12252288"/>
              <a:gd name="connsiteY1075" fmla="*/ 365016 h 6891912"/>
              <a:gd name="connsiteX1076" fmla="*/ 10683740 w 12252288"/>
              <a:gd name="connsiteY1076" fmla="*/ 387989 h 6891912"/>
              <a:gd name="connsiteX1077" fmla="*/ 10697780 w 12252288"/>
              <a:gd name="connsiteY1077" fmla="*/ 402028 h 6891912"/>
              <a:gd name="connsiteX1078" fmla="*/ 10716924 w 12252288"/>
              <a:gd name="connsiteY1078" fmla="*/ 407133 h 6891912"/>
              <a:gd name="connsiteX1079" fmla="*/ 10729686 w 12252288"/>
              <a:gd name="connsiteY1079" fmla="*/ 404581 h 6891912"/>
              <a:gd name="connsiteX1080" fmla="*/ 10738620 w 12252288"/>
              <a:gd name="connsiteY1080" fmla="*/ 399476 h 6891912"/>
              <a:gd name="connsiteX1081" fmla="*/ 10743724 w 12252288"/>
              <a:gd name="connsiteY1081" fmla="*/ 394371 h 6891912"/>
              <a:gd name="connsiteX1082" fmla="*/ 10746278 w 12252288"/>
              <a:gd name="connsiteY1082" fmla="*/ 394371 h 6891912"/>
              <a:gd name="connsiteX1083" fmla="*/ 10746278 w 12252288"/>
              <a:gd name="connsiteY1083" fmla="*/ 409686 h 6891912"/>
              <a:gd name="connsiteX1084" fmla="*/ 10746278 w 12252288"/>
              <a:gd name="connsiteY1084" fmla="*/ 410962 h 6891912"/>
              <a:gd name="connsiteX1085" fmla="*/ 10733516 w 12252288"/>
              <a:gd name="connsiteY1085" fmla="*/ 423725 h 6891912"/>
              <a:gd name="connsiteX1086" fmla="*/ 10733516 w 12252288"/>
              <a:gd name="connsiteY1086" fmla="*/ 422449 h 6891912"/>
              <a:gd name="connsiteX1087" fmla="*/ 10692674 w 12252288"/>
              <a:gd name="connsiteY1087" fmla="*/ 422449 h 6891912"/>
              <a:gd name="connsiteX1088" fmla="*/ 10692674 w 12252288"/>
              <a:gd name="connsiteY1088" fmla="*/ 439040 h 6891912"/>
              <a:gd name="connsiteX1089" fmla="*/ 10737344 w 12252288"/>
              <a:gd name="connsiteY1089" fmla="*/ 439040 h 6891912"/>
              <a:gd name="connsiteX1090" fmla="*/ 10764146 w 12252288"/>
              <a:gd name="connsiteY1090" fmla="*/ 412238 h 6891912"/>
              <a:gd name="connsiteX1091" fmla="*/ 10764146 w 12252288"/>
              <a:gd name="connsiteY1091" fmla="*/ 409686 h 6891912"/>
              <a:gd name="connsiteX1092" fmla="*/ 10764146 w 12252288"/>
              <a:gd name="connsiteY1092" fmla="*/ 394371 h 6891912"/>
              <a:gd name="connsiteX1093" fmla="*/ 10764146 w 12252288"/>
              <a:gd name="connsiteY1093" fmla="*/ 324175 h 6891912"/>
              <a:gd name="connsiteX1094" fmla="*/ 10746278 w 12252288"/>
              <a:gd name="connsiteY1094" fmla="*/ 324175 h 6891912"/>
              <a:gd name="connsiteX1095" fmla="*/ 10746278 w 12252288"/>
              <a:gd name="connsiteY1095" fmla="*/ 334385 h 6891912"/>
              <a:gd name="connsiteX1096" fmla="*/ 10743724 w 12252288"/>
              <a:gd name="connsiteY1096" fmla="*/ 334385 h 6891912"/>
              <a:gd name="connsiteX1097" fmla="*/ 10734792 w 12252288"/>
              <a:gd name="connsiteY1097" fmla="*/ 325451 h 6891912"/>
              <a:gd name="connsiteX1098" fmla="*/ 10716924 w 12252288"/>
              <a:gd name="connsiteY1098" fmla="*/ 321623 h 6891912"/>
              <a:gd name="connsiteX1099" fmla="*/ 11210844 w 12252288"/>
              <a:gd name="connsiteY1099" fmla="*/ 320346 h 6891912"/>
              <a:gd name="connsiteX1100" fmla="*/ 11191700 w 12252288"/>
              <a:gd name="connsiteY1100" fmla="*/ 325451 h 6891912"/>
              <a:gd name="connsiteX1101" fmla="*/ 11177660 w 12252288"/>
              <a:gd name="connsiteY1101" fmla="*/ 339491 h 6891912"/>
              <a:gd name="connsiteX1102" fmla="*/ 11173832 w 12252288"/>
              <a:gd name="connsiteY1102" fmla="*/ 361187 h 6891912"/>
              <a:gd name="connsiteX1103" fmla="*/ 11173832 w 12252288"/>
              <a:gd name="connsiteY1103" fmla="*/ 363740 h 6891912"/>
              <a:gd name="connsiteX1104" fmla="*/ 11178936 w 12252288"/>
              <a:gd name="connsiteY1104" fmla="*/ 386713 h 6891912"/>
              <a:gd name="connsiteX1105" fmla="*/ 11192976 w 12252288"/>
              <a:gd name="connsiteY1105" fmla="*/ 400752 h 6891912"/>
              <a:gd name="connsiteX1106" fmla="*/ 11212120 w 12252288"/>
              <a:gd name="connsiteY1106" fmla="*/ 405857 h 6891912"/>
              <a:gd name="connsiteX1107" fmla="*/ 11224884 w 12252288"/>
              <a:gd name="connsiteY1107" fmla="*/ 403305 h 6891912"/>
              <a:gd name="connsiteX1108" fmla="*/ 11233816 w 12252288"/>
              <a:gd name="connsiteY1108" fmla="*/ 398199 h 6891912"/>
              <a:gd name="connsiteX1109" fmla="*/ 11238920 w 12252288"/>
              <a:gd name="connsiteY1109" fmla="*/ 393094 h 6891912"/>
              <a:gd name="connsiteX1110" fmla="*/ 11241474 w 12252288"/>
              <a:gd name="connsiteY1110" fmla="*/ 393094 h 6891912"/>
              <a:gd name="connsiteX1111" fmla="*/ 11241474 w 12252288"/>
              <a:gd name="connsiteY1111" fmla="*/ 408410 h 6891912"/>
              <a:gd name="connsiteX1112" fmla="*/ 11241474 w 12252288"/>
              <a:gd name="connsiteY1112" fmla="*/ 409686 h 6891912"/>
              <a:gd name="connsiteX1113" fmla="*/ 11228712 w 12252288"/>
              <a:gd name="connsiteY1113" fmla="*/ 422449 h 6891912"/>
              <a:gd name="connsiteX1114" fmla="*/ 11228712 w 12252288"/>
              <a:gd name="connsiteY1114" fmla="*/ 421172 h 6891912"/>
              <a:gd name="connsiteX1115" fmla="*/ 11187870 w 12252288"/>
              <a:gd name="connsiteY1115" fmla="*/ 421172 h 6891912"/>
              <a:gd name="connsiteX1116" fmla="*/ 11187870 w 12252288"/>
              <a:gd name="connsiteY1116" fmla="*/ 437764 h 6891912"/>
              <a:gd name="connsiteX1117" fmla="*/ 11231264 w 12252288"/>
              <a:gd name="connsiteY1117" fmla="*/ 437764 h 6891912"/>
              <a:gd name="connsiteX1118" fmla="*/ 11231264 w 12252288"/>
              <a:gd name="connsiteY1118" fmla="*/ 439040 h 6891912"/>
              <a:gd name="connsiteX1119" fmla="*/ 11259342 w 12252288"/>
              <a:gd name="connsiteY1119" fmla="*/ 410962 h 6891912"/>
              <a:gd name="connsiteX1120" fmla="*/ 11259342 w 12252288"/>
              <a:gd name="connsiteY1120" fmla="*/ 408410 h 6891912"/>
              <a:gd name="connsiteX1121" fmla="*/ 11259342 w 12252288"/>
              <a:gd name="connsiteY1121" fmla="*/ 393094 h 6891912"/>
              <a:gd name="connsiteX1122" fmla="*/ 11259342 w 12252288"/>
              <a:gd name="connsiteY1122" fmla="*/ 322899 h 6891912"/>
              <a:gd name="connsiteX1123" fmla="*/ 11241474 w 12252288"/>
              <a:gd name="connsiteY1123" fmla="*/ 322899 h 6891912"/>
              <a:gd name="connsiteX1124" fmla="*/ 11241474 w 12252288"/>
              <a:gd name="connsiteY1124" fmla="*/ 333109 h 6891912"/>
              <a:gd name="connsiteX1125" fmla="*/ 11237644 w 12252288"/>
              <a:gd name="connsiteY1125" fmla="*/ 333109 h 6891912"/>
              <a:gd name="connsiteX1126" fmla="*/ 11228712 w 12252288"/>
              <a:gd name="connsiteY1126" fmla="*/ 324175 h 6891912"/>
              <a:gd name="connsiteX1127" fmla="*/ 11210844 w 12252288"/>
              <a:gd name="connsiteY1127" fmla="*/ 320346 h 6891912"/>
              <a:gd name="connsiteX1128" fmla="*/ 11056412 w 12252288"/>
              <a:gd name="connsiteY1128" fmla="*/ 320346 h 6891912"/>
              <a:gd name="connsiteX1129" fmla="*/ 11034716 w 12252288"/>
              <a:gd name="connsiteY1129" fmla="*/ 325451 h 6891912"/>
              <a:gd name="connsiteX1130" fmla="*/ 11019402 w 12252288"/>
              <a:gd name="connsiteY1130" fmla="*/ 340767 h 6891912"/>
              <a:gd name="connsiteX1131" fmla="*/ 11014296 w 12252288"/>
              <a:gd name="connsiteY1131" fmla="*/ 363740 h 6891912"/>
              <a:gd name="connsiteX1132" fmla="*/ 11014296 w 12252288"/>
              <a:gd name="connsiteY1132" fmla="*/ 366292 h 6891912"/>
              <a:gd name="connsiteX1133" fmla="*/ 11019402 w 12252288"/>
              <a:gd name="connsiteY1133" fmla="*/ 389265 h 6891912"/>
              <a:gd name="connsiteX1134" fmla="*/ 11034716 w 12252288"/>
              <a:gd name="connsiteY1134" fmla="*/ 404581 h 6891912"/>
              <a:gd name="connsiteX1135" fmla="*/ 11056412 w 12252288"/>
              <a:gd name="connsiteY1135" fmla="*/ 409686 h 6891912"/>
              <a:gd name="connsiteX1136" fmla="*/ 11074282 w 12252288"/>
              <a:gd name="connsiteY1136" fmla="*/ 407133 h 6891912"/>
              <a:gd name="connsiteX1137" fmla="*/ 11088320 w 12252288"/>
              <a:gd name="connsiteY1137" fmla="*/ 396923 h 6891912"/>
              <a:gd name="connsiteX1138" fmla="*/ 11095980 w 12252288"/>
              <a:gd name="connsiteY1138" fmla="*/ 386713 h 6891912"/>
              <a:gd name="connsiteX1139" fmla="*/ 11081940 w 12252288"/>
              <a:gd name="connsiteY1139" fmla="*/ 377779 h 6891912"/>
              <a:gd name="connsiteX1140" fmla="*/ 11074282 w 12252288"/>
              <a:gd name="connsiteY1140" fmla="*/ 386713 h 6891912"/>
              <a:gd name="connsiteX1141" fmla="*/ 11060242 w 12252288"/>
              <a:gd name="connsiteY1141" fmla="*/ 390542 h 6891912"/>
              <a:gd name="connsiteX1142" fmla="*/ 11043652 w 12252288"/>
              <a:gd name="connsiteY1142" fmla="*/ 385437 h 6891912"/>
              <a:gd name="connsiteX1143" fmla="*/ 11035992 w 12252288"/>
              <a:gd name="connsiteY1143" fmla="*/ 370121 h 6891912"/>
              <a:gd name="connsiteX1144" fmla="*/ 11097256 w 12252288"/>
              <a:gd name="connsiteY1144" fmla="*/ 370121 h 6891912"/>
              <a:gd name="connsiteX1145" fmla="*/ 11097256 w 12252288"/>
              <a:gd name="connsiteY1145" fmla="*/ 362464 h 6891912"/>
              <a:gd name="connsiteX1146" fmla="*/ 11092148 w 12252288"/>
              <a:gd name="connsiteY1146" fmla="*/ 340767 h 6891912"/>
              <a:gd name="connsiteX1147" fmla="*/ 11078110 w 12252288"/>
              <a:gd name="connsiteY1147" fmla="*/ 325451 h 6891912"/>
              <a:gd name="connsiteX1148" fmla="*/ 11056412 w 12252288"/>
              <a:gd name="connsiteY1148" fmla="*/ 320346 h 6891912"/>
              <a:gd name="connsiteX1149" fmla="*/ 10372328 w 12252288"/>
              <a:gd name="connsiteY1149" fmla="*/ 320346 h 6891912"/>
              <a:gd name="connsiteX1150" fmla="*/ 10350632 w 12252288"/>
              <a:gd name="connsiteY1150" fmla="*/ 325451 h 6891912"/>
              <a:gd name="connsiteX1151" fmla="*/ 10335316 w 12252288"/>
              <a:gd name="connsiteY1151" fmla="*/ 340767 h 6891912"/>
              <a:gd name="connsiteX1152" fmla="*/ 10330212 w 12252288"/>
              <a:gd name="connsiteY1152" fmla="*/ 363740 h 6891912"/>
              <a:gd name="connsiteX1153" fmla="*/ 10330212 w 12252288"/>
              <a:gd name="connsiteY1153" fmla="*/ 366292 h 6891912"/>
              <a:gd name="connsiteX1154" fmla="*/ 10337868 w 12252288"/>
              <a:gd name="connsiteY1154" fmla="*/ 387989 h 6891912"/>
              <a:gd name="connsiteX1155" fmla="*/ 10353184 w 12252288"/>
              <a:gd name="connsiteY1155" fmla="*/ 403305 h 6891912"/>
              <a:gd name="connsiteX1156" fmla="*/ 10374880 w 12252288"/>
              <a:gd name="connsiteY1156" fmla="*/ 408410 h 6891912"/>
              <a:gd name="connsiteX1157" fmla="*/ 10394024 w 12252288"/>
              <a:gd name="connsiteY1157" fmla="*/ 405857 h 6891912"/>
              <a:gd name="connsiteX1158" fmla="*/ 10405512 w 12252288"/>
              <a:gd name="connsiteY1158" fmla="*/ 396923 h 6891912"/>
              <a:gd name="connsiteX1159" fmla="*/ 10413168 w 12252288"/>
              <a:gd name="connsiteY1159" fmla="*/ 386713 h 6891912"/>
              <a:gd name="connsiteX1160" fmla="*/ 10397852 w 12252288"/>
              <a:gd name="connsiteY1160" fmla="*/ 377779 h 6891912"/>
              <a:gd name="connsiteX1161" fmla="*/ 10390196 w 12252288"/>
              <a:gd name="connsiteY1161" fmla="*/ 386713 h 6891912"/>
              <a:gd name="connsiteX1162" fmla="*/ 10376156 w 12252288"/>
              <a:gd name="connsiteY1162" fmla="*/ 390542 h 6891912"/>
              <a:gd name="connsiteX1163" fmla="*/ 10359564 w 12252288"/>
              <a:gd name="connsiteY1163" fmla="*/ 385437 h 6891912"/>
              <a:gd name="connsiteX1164" fmla="*/ 10351908 w 12252288"/>
              <a:gd name="connsiteY1164" fmla="*/ 370121 h 6891912"/>
              <a:gd name="connsiteX1165" fmla="*/ 10413168 w 12252288"/>
              <a:gd name="connsiteY1165" fmla="*/ 370121 h 6891912"/>
              <a:gd name="connsiteX1166" fmla="*/ 10413168 w 12252288"/>
              <a:gd name="connsiteY1166" fmla="*/ 362464 h 6891912"/>
              <a:gd name="connsiteX1167" fmla="*/ 10408064 w 12252288"/>
              <a:gd name="connsiteY1167" fmla="*/ 340767 h 6891912"/>
              <a:gd name="connsiteX1168" fmla="*/ 10394024 w 12252288"/>
              <a:gd name="connsiteY1168" fmla="*/ 325451 h 6891912"/>
              <a:gd name="connsiteX1169" fmla="*/ 10372328 w 12252288"/>
              <a:gd name="connsiteY1169" fmla="*/ 320346 h 6891912"/>
              <a:gd name="connsiteX1170" fmla="*/ 10267672 w 12252288"/>
              <a:gd name="connsiteY1170" fmla="*/ 320346 h 6891912"/>
              <a:gd name="connsiteX1171" fmla="*/ 10248528 w 12252288"/>
              <a:gd name="connsiteY1171" fmla="*/ 325451 h 6891912"/>
              <a:gd name="connsiteX1172" fmla="*/ 10234490 w 12252288"/>
              <a:gd name="connsiteY1172" fmla="*/ 339491 h 6891912"/>
              <a:gd name="connsiteX1173" fmla="*/ 10229384 w 12252288"/>
              <a:gd name="connsiteY1173" fmla="*/ 361187 h 6891912"/>
              <a:gd name="connsiteX1174" fmla="*/ 10229384 w 12252288"/>
              <a:gd name="connsiteY1174" fmla="*/ 363740 h 6891912"/>
              <a:gd name="connsiteX1175" fmla="*/ 10234490 w 12252288"/>
              <a:gd name="connsiteY1175" fmla="*/ 386713 h 6891912"/>
              <a:gd name="connsiteX1176" fmla="*/ 10248528 w 12252288"/>
              <a:gd name="connsiteY1176" fmla="*/ 400752 h 6891912"/>
              <a:gd name="connsiteX1177" fmla="*/ 10267672 w 12252288"/>
              <a:gd name="connsiteY1177" fmla="*/ 405857 h 6891912"/>
              <a:gd name="connsiteX1178" fmla="*/ 10280436 w 12252288"/>
              <a:gd name="connsiteY1178" fmla="*/ 403305 h 6891912"/>
              <a:gd name="connsiteX1179" fmla="*/ 10289370 w 12252288"/>
              <a:gd name="connsiteY1179" fmla="*/ 398199 h 6891912"/>
              <a:gd name="connsiteX1180" fmla="*/ 10294474 w 12252288"/>
              <a:gd name="connsiteY1180" fmla="*/ 393094 h 6891912"/>
              <a:gd name="connsiteX1181" fmla="*/ 10297028 w 12252288"/>
              <a:gd name="connsiteY1181" fmla="*/ 393094 h 6891912"/>
              <a:gd name="connsiteX1182" fmla="*/ 10297028 w 12252288"/>
              <a:gd name="connsiteY1182" fmla="*/ 408410 h 6891912"/>
              <a:gd name="connsiteX1183" fmla="*/ 10297028 w 12252288"/>
              <a:gd name="connsiteY1183" fmla="*/ 409686 h 6891912"/>
              <a:gd name="connsiteX1184" fmla="*/ 10284264 w 12252288"/>
              <a:gd name="connsiteY1184" fmla="*/ 422449 h 6891912"/>
              <a:gd name="connsiteX1185" fmla="*/ 10284264 w 12252288"/>
              <a:gd name="connsiteY1185" fmla="*/ 421172 h 6891912"/>
              <a:gd name="connsiteX1186" fmla="*/ 10243424 w 12252288"/>
              <a:gd name="connsiteY1186" fmla="*/ 421172 h 6891912"/>
              <a:gd name="connsiteX1187" fmla="*/ 10243424 w 12252288"/>
              <a:gd name="connsiteY1187" fmla="*/ 437764 h 6891912"/>
              <a:gd name="connsiteX1188" fmla="*/ 10286816 w 12252288"/>
              <a:gd name="connsiteY1188" fmla="*/ 437764 h 6891912"/>
              <a:gd name="connsiteX1189" fmla="*/ 10286816 w 12252288"/>
              <a:gd name="connsiteY1189" fmla="*/ 439040 h 6891912"/>
              <a:gd name="connsiteX1190" fmla="*/ 10314896 w 12252288"/>
              <a:gd name="connsiteY1190" fmla="*/ 410962 h 6891912"/>
              <a:gd name="connsiteX1191" fmla="*/ 10314896 w 12252288"/>
              <a:gd name="connsiteY1191" fmla="*/ 408410 h 6891912"/>
              <a:gd name="connsiteX1192" fmla="*/ 10314896 w 12252288"/>
              <a:gd name="connsiteY1192" fmla="*/ 393094 h 6891912"/>
              <a:gd name="connsiteX1193" fmla="*/ 10314896 w 12252288"/>
              <a:gd name="connsiteY1193" fmla="*/ 322899 h 6891912"/>
              <a:gd name="connsiteX1194" fmla="*/ 10297028 w 12252288"/>
              <a:gd name="connsiteY1194" fmla="*/ 322899 h 6891912"/>
              <a:gd name="connsiteX1195" fmla="*/ 10297028 w 12252288"/>
              <a:gd name="connsiteY1195" fmla="*/ 333109 h 6891912"/>
              <a:gd name="connsiteX1196" fmla="*/ 10294474 w 12252288"/>
              <a:gd name="connsiteY1196" fmla="*/ 333109 h 6891912"/>
              <a:gd name="connsiteX1197" fmla="*/ 10285540 w 12252288"/>
              <a:gd name="connsiteY1197" fmla="*/ 324175 h 6891912"/>
              <a:gd name="connsiteX1198" fmla="*/ 10267672 w 12252288"/>
              <a:gd name="connsiteY1198" fmla="*/ 320346 h 6891912"/>
              <a:gd name="connsiteX1199" fmla="*/ 10618650 w 12252288"/>
              <a:gd name="connsiteY1199" fmla="*/ 319070 h 6891912"/>
              <a:gd name="connsiteX1200" fmla="*/ 10596952 w 12252288"/>
              <a:gd name="connsiteY1200" fmla="*/ 324175 h 6891912"/>
              <a:gd name="connsiteX1201" fmla="*/ 10581636 w 12252288"/>
              <a:gd name="connsiteY1201" fmla="*/ 339491 h 6891912"/>
              <a:gd name="connsiteX1202" fmla="*/ 10576532 w 12252288"/>
              <a:gd name="connsiteY1202" fmla="*/ 362464 h 6891912"/>
              <a:gd name="connsiteX1203" fmla="*/ 10576532 w 12252288"/>
              <a:gd name="connsiteY1203" fmla="*/ 365016 h 6891912"/>
              <a:gd name="connsiteX1204" fmla="*/ 10581636 w 12252288"/>
              <a:gd name="connsiteY1204" fmla="*/ 387989 h 6891912"/>
              <a:gd name="connsiteX1205" fmla="*/ 10596952 w 12252288"/>
              <a:gd name="connsiteY1205" fmla="*/ 403305 h 6891912"/>
              <a:gd name="connsiteX1206" fmla="*/ 10618650 w 12252288"/>
              <a:gd name="connsiteY1206" fmla="*/ 408410 h 6891912"/>
              <a:gd name="connsiteX1207" fmla="*/ 10640348 w 12252288"/>
              <a:gd name="connsiteY1207" fmla="*/ 403305 h 6891912"/>
              <a:gd name="connsiteX1208" fmla="*/ 10655662 w 12252288"/>
              <a:gd name="connsiteY1208" fmla="*/ 387989 h 6891912"/>
              <a:gd name="connsiteX1209" fmla="*/ 10660768 w 12252288"/>
              <a:gd name="connsiteY1209" fmla="*/ 365016 h 6891912"/>
              <a:gd name="connsiteX1210" fmla="*/ 10660768 w 12252288"/>
              <a:gd name="connsiteY1210" fmla="*/ 362464 h 6891912"/>
              <a:gd name="connsiteX1211" fmla="*/ 10655662 w 12252288"/>
              <a:gd name="connsiteY1211" fmla="*/ 339491 h 6891912"/>
              <a:gd name="connsiteX1212" fmla="*/ 10640348 w 12252288"/>
              <a:gd name="connsiteY1212" fmla="*/ 324175 h 6891912"/>
              <a:gd name="connsiteX1213" fmla="*/ 10618650 w 12252288"/>
              <a:gd name="connsiteY1213" fmla="*/ 319070 h 6891912"/>
              <a:gd name="connsiteX1214" fmla="*/ 10163016 w 12252288"/>
              <a:gd name="connsiteY1214" fmla="*/ 319070 h 6891912"/>
              <a:gd name="connsiteX1215" fmla="*/ 10143872 w 12252288"/>
              <a:gd name="connsiteY1215" fmla="*/ 324175 h 6891912"/>
              <a:gd name="connsiteX1216" fmla="*/ 10129836 w 12252288"/>
              <a:gd name="connsiteY1216" fmla="*/ 338214 h 6891912"/>
              <a:gd name="connsiteX1217" fmla="*/ 10124728 w 12252288"/>
              <a:gd name="connsiteY1217" fmla="*/ 361187 h 6891912"/>
              <a:gd name="connsiteX1218" fmla="*/ 10124728 w 12252288"/>
              <a:gd name="connsiteY1218" fmla="*/ 365016 h 6891912"/>
              <a:gd name="connsiteX1219" fmla="*/ 10123452 w 12252288"/>
              <a:gd name="connsiteY1219" fmla="*/ 365016 h 6891912"/>
              <a:gd name="connsiteX1220" fmla="*/ 10128558 w 12252288"/>
              <a:gd name="connsiteY1220" fmla="*/ 387989 h 6891912"/>
              <a:gd name="connsiteX1221" fmla="*/ 10142596 w 12252288"/>
              <a:gd name="connsiteY1221" fmla="*/ 402028 h 6891912"/>
              <a:gd name="connsiteX1222" fmla="*/ 10161742 w 12252288"/>
              <a:gd name="connsiteY1222" fmla="*/ 407133 h 6891912"/>
              <a:gd name="connsiteX1223" fmla="*/ 10174504 w 12252288"/>
              <a:gd name="connsiteY1223" fmla="*/ 404581 h 6891912"/>
              <a:gd name="connsiteX1224" fmla="*/ 10183438 w 12252288"/>
              <a:gd name="connsiteY1224" fmla="*/ 399476 h 6891912"/>
              <a:gd name="connsiteX1225" fmla="*/ 10188544 w 12252288"/>
              <a:gd name="connsiteY1225" fmla="*/ 394371 h 6891912"/>
              <a:gd name="connsiteX1226" fmla="*/ 10191096 w 12252288"/>
              <a:gd name="connsiteY1226" fmla="*/ 394371 h 6891912"/>
              <a:gd name="connsiteX1227" fmla="*/ 10191096 w 12252288"/>
              <a:gd name="connsiteY1227" fmla="*/ 409686 h 6891912"/>
              <a:gd name="connsiteX1228" fmla="*/ 10178332 w 12252288"/>
              <a:gd name="connsiteY1228" fmla="*/ 422449 h 6891912"/>
              <a:gd name="connsiteX1229" fmla="*/ 10178332 w 12252288"/>
              <a:gd name="connsiteY1229" fmla="*/ 421172 h 6891912"/>
              <a:gd name="connsiteX1230" fmla="*/ 10137492 w 12252288"/>
              <a:gd name="connsiteY1230" fmla="*/ 421172 h 6891912"/>
              <a:gd name="connsiteX1231" fmla="*/ 10137492 w 12252288"/>
              <a:gd name="connsiteY1231" fmla="*/ 437764 h 6891912"/>
              <a:gd name="connsiteX1232" fmla="*/ 10182162 w 12252288"/>
              <a:gd name="connsiteY1232" fmla="*/ 437764 h 6891912"/>
              <a:gd name="connsiteX1233" fmla="*/ 10210240 w 12252288"/>
              <a:gd name="connsiteY1233" fmla="*/ 410962 h 6891912"/>
              <a:gd name="connsiteX1234" fmla="*/ 10210240 w 12252288"/>
              <a:gd name="connsiteY1234" fmla="*/ 409686 h 6891912"/>
              <a:gd name="connsiteX1235" fmla="*/ 10210240 w 12252288"/>
              <a:gd name="connsiteY1235" fmla="*/ 391818 h 6891912"/>
              <a:gd name="connsiteX1236" fmla="*/ 10210240 w 12252288"/>
              <a:gd name="connsiteY1236" fmla="*/ 321623 h 6891912"/>
              <a:gd name="connsiteX1237" fmla="*/ 10192372 w 12252288"/>
              <a:gd name="connsiteY1237" fmla="*/ 321623 h 6891912"/>
              <a:gd name="connsiteX1238" fmla="*/ 10192372 w 12252288"/>
              <a:gd name="connsiteY1238" fmla="*/ 331833 h 6891912"/>
              <a:gd name="connsiteX1239" fmla="*/ 10189820 w 12252288"/>
              <a:gd name="connsiteY1239" fmla="*/ 331833 h 6891912"/>
              <a:gd name="connsiteX1240" fmla="*/ 10180886 w 12252288"/>
              <a:gd name="connsiteY1240" fmla="*/ 322899 h 6891912"/>
              <a:gd name="connsiteX1241" fmla="*/ 10163016 w 12252288"/>
              <a:gd name="connsiteY1241" fmla="*/ 319070 h 6891912"/>
              <a:gd name="connsiteX1242" fmla="*/ 9951156 w 12252288"/>
              <a:gd name="connsiteY1242" fmla="*/ 307584 h 6891912"/>
              <a:gd name="connsiteX1243" fmla="*/ 9980510 w 12252288"/>
              <a:gd name="connsiteY1243" fmla="*/ 307584 h 6891912"/>
              <a:gd name="connsiteX1244" fmla="*/ 9993272 w 12252288"/>
              <a:gd name="connsiteY1244" fmla="*/ 311412 h 6891912"/>
              <a:gd name="connsiteX1245" fmla="*/ 9998378 w 12252288"/>
              <a:gd name="connsiteY1245" fmla="*/ 321623 h 6891912"/>
              <a:gd name="connsiteX1246" fmla="*/ 9998378 w 12252288"/>
              <a:gd name="connsiteY1246" fmla="*/ 322899 h 6891912"/>
              <a:gd name="connsiteX1247" fmla="*/ 9993272 w 12252288"/>
              <a:gd name="connsiteY1247" fmla="*/ 333109 h 6891912"/>
              <a:gd name="connsiteX1248" fmla="*/ 9980510 w 12252288"/>
              <a:gd name="connsiteY1248" fmla="*/ 336938 h 6891912"/>
              <a:gd name="connsiteX1249" fmla="*/ 9951156 w 12252288"/>
              <a:gd name="connsiteY1249" fmla="*/ 336938 h 6891912"/>
              <a:gd name="connsiteX1250" fmla="*/ 10827960 w 12252288"/>
              <a:gd name="connsiteY1250" fmla="*/ 289716 h 6891912"/>
              <a:gd name="connsiteX1251" fmla="*/ 10827960 w 12252288"/>
              <a:gd name="connsiteY1251" fmla="*/ 407133 h 6891912"/>
              <a:gd name="connsiteX1252" fmla="*/ 10827960 w 12252288"/>
              <a:gd name="connsiteY1252" fmla="*/ 408410 h 6891912"/>
              <a:gd name="connsiteX1253" fmla="*/ 10903260 w 12252288"/>
              <a:gd name="connsiteY1253" fmla="*/ 408410 h 6891912"/>
              <a:gd name="connsiteX1254" fmla="*/ 10903260 w 12252288"/>
              <a:gd name="connsiteY1254" fmla="*/ 387989 h 6891912"/>
              <a:gd name="connsiteX1255" fmla="*/ 10901984 w 12252288"/>
              <a:gd name="connsiteY1255" fmla="*/ 387989 h 6891912"/>
              <a:gd name="connsiteX1256" fmla="*/ 10847104 w 12252288"/>
              <a:gd name="connsiteY1256" fmla="*/ 387989 h 6891912"/>
              <a:gd name="connsiteX1257" fmla="*/ 10847104 w 12252288"/>
              <a:gd name="connsiteY1257" fmla="*/ 356082 h 6891912"/>
              <a:gd name="connsiteX1258" fmla="*/ 10896878 w 12252288"/>
              <a:gd name="connsiteY1258" fmla="*/ 356082 h 6891912"/>
              <a:gd name="connsiteX1259" fmla="*/ 10896878 w 12252288"/>
              <a:gd name="connsiteY1259" fmla="*/ 338214 h 6891912"/>
              <a:gd name="connsiteX1260" fmla="*/ 10847104 w 12252288"/>
              <a:gd name="connsiteY1260" fmla="*/ 338214 h 6891912"/>
              <a:gd name="connsiteX1261" fmla="*/ 10847104 w 12252288"/>
              <a:gd name="connsiteY1261" fmla="*/ 307584 h 6891912"/>
              <a:gd name="connsiteX1262" fmla="*/ 10901984 w 12252288"/>
              <a:gd name="connsiteY1262" fmla="*/ 307584 h 6891912"/>
              <a:gd name="connsiteX1263" fmla="*/ 10901984 w 12252288"/>
              <a:gd name="connsiteY1263" fmla="*/ 289716 h 6891912"/>
              <a:gd name="connsiteX1264" fmla="*/ 9932012 w 12252288"/>
              <a:gd name="connsiteY1264" fmla="*/ 288439 h 6891912"/>
              <a:gd name="connsiteX1265" fmla="*/ 9932012 w 12252288"/>
              <a:gd name="connsiteY1265" fmla="*/ 404581 h 6891912"/>
              <a:gd name="connsiteX1266" fmla="*/ 9984338 w 12252288"/>
              <a:gd name="connsiteY1266" fmla="*/ 404581 h 6891912"/>
              <a:gd name="connsiteX1267" fmla="*/ 10002208 w 12252288"/>
              <a:gd name="connsiteY1267" fmla="*/ 400752 h 6891912"/>
              <a:gd name="connsiteX1268" fmla="*/ 10014968 w 12252288"/>
              <a:gd name="connsiteY1268" fmla="*/ 390542 h 6891912"/>
              <a:gd name="connsiteX1269" fmla="*/ 10018798 w 12252288"/>
              <a:gd name="connsiteY1269" fmla="*/ 373950 h 6891912"/>
              <a:gd name="connsiteX1270" fmla="*/ 10018798 w 12252288"/>
              <a:gd name="connsiteY1270" fmla="*/ 372674 h 6891912"/>
              <a:gd name="connsiteX1271" fmla="*/ 10016244 w 12252288"/>
              <a:gd name="connsiteY1271" fmla="*/ 358635 h 6891912"/>
              <a:gd name="connsiteX1272" fmla="*/ 10008588 w 12252288"/>
              <a:gd name="connsiteY1272" fmla="*/ 350977 h 6891912"/>
              <a:gd name="connsiteX1273" fmla="*/ 9999654 w 12252288"/>
              <a:gd name="connsiteY1273" fmla="*/ 347148 h 6891912"/>
              <a:gd name="connsiteX1274" fmla="*/ 9999654 w 12252288"/>
              <a:gd name="connsiteY1274" fmla="*/ 344596 h 6891912"/>
              <a:gd name="connsiteX1275" fmla="*/ 10007312 w 12252288"/>
              <a:gd name="connsiteY1275" fmla="*/ 340767 h 6891912"/>
              <a:gd name="connsiteX1276" fmla="*/ 10014968 w 12252288"/>
              <a:gd name="connsiteY1276" fmla="*/ 333109 h 6891912"/>
              <a:gd name="connsiteX1277" fmla="*/ 10017522 w 12252288"/>
              <a:gd name="connsiteY1277" fmla="*/ 319070 h 6891912"/>
              <a:gd name="connsiteX1278" fmla="*/ 10017522 w 12252288"/>
              <a:gd name="connsiteY1278" fmla="*/ 317794 h 6891912"/>
              <a:gd name="connsiteX1279" fmla="*/ 10013692 w 12252288"/>
              <a:gd name="connsiteY1279" fmla="*/ 302478 h 6891912"/>
              <a:gd name="connsiteX1280" fmla="*/ 10002208 w 12252288"/>
              <a:gd name="connsiteY1280" fmla="*/ 292268 h 6891912"/>
              <a:gd name="connsiteX1281" fmla="*/ 9984338 w 12252288"/>
              <a:gd name="connsiteY1281" fmla="*/ 288439 h 6891912"/>
              <a:gd name="connsiteX1282" fmla="*/ 11291248 w 12252288"/>
              <a:gd name="connsiteY1282" fmla="*/ 287163 h 6891912"/>
              <a:gd name="connsiteX1283" fmla="*/ 11282316 w 12252288"/>
              <a:gd name="connsiteY1283" fmla="*/ 290992 h 6891912"/>
              <a:gd name="connsiteX1284" fmla="*/ 11278488 w 12252288"/>
              <a:gd name="connsiteY1284" fmla="*/ 299926 h 6891912"/>
              <a:gd name="connsiteX1285" fmla="*/ 11282316 w 12252288"/>
              <a:gd name="connsiteY1285" fmla="*/ 308860 h 6891912"/>
              <a:gd name="connsiteX1286" fmla="*/ 11291248 w 12252288"/>
              <a:gd name="connsiteY1286" fmla="*/ 312689 h 6891912"/>
              <a:gd name="connsiteX1287" fmla="*/ 11300184 w 12252288"/>
              <a:gd name="connsiteY1287" fmla="*/ 308860 h 6891912"/>
              <a:gd name="connsiteX1288" fmla="*/ 11304012 w 12252288"/>
              <a:gd name="connsiteY1288" fmla="*/ 299926 h 6891912"/>
              <a:gd name="connsiteX1289" fmla="*/ 11300184 w 12252288"/>
              <a:gd name="connsiteY1289" fmla="*/ 290992 h 6891912"/>
              <a:gd name="connsiteX1290" fmla="*/ 11291248 w 12252288"/>
              <a:gd name="connsiteY1290" fmla="*/ 287163 h 6891912"/>
              <a:gd name="connsiteX1291" fmla="*/ 10506336 w 12252288"/>
              <a:gd name="connsiteY1291" fmla="*/ 287163 h 6891912"/>
              <a:gd name="connsiteX1292" fmla="*/ 10497404 w 12252288"/>
              <a:gd name="connsiteY1292" fmla="*/ 290992 h 6891912"/>
              <a:gd name="connsiteX1293" fmla="*/ 10493574 w 12252288"/>
              <a:gd name="connsiteY1293" fmla="*/ 299926 h 6891912"/>
              <a:gd name="connsiteX1294" fmla="*/ 10497404 w 12252288"/>
              <a:gd name="connsiteY1294" fmla="*/ 308860 h 6891912"/>
              <a:gd name="connsiteX1295" fmla="*/ 10506336 w 12252288"/>
              <a:gd name="connsiteY1295" fmla="*/ 312689 h 6891912"/>
              <a:gd name="connsiteX1296" fmla="*/ 10515272 w 12252288"/>
              <a:gd name="connsiteY1296" fmla="*/ 308860 h 6891912"/>
              <a:gd name="connsiteX1297" fmla="*/ 10519100 w 12252288"/>
              <a:gd name="connsiteY1297" fmla="*/ 299926 h 6891912"/>
              <a:gd name="connsiteX1298" fmla="*/ 10515272 w 12252288"/>
              <a:gd name="connsiteY1298" fmla="*/ 290992 h 6891912"/>
              <a:gd name="connsiteX1299" fmla="*/ 10506336 w 12252288"/>
              <a:gd name="connsiteY1299" fmla="*/ 287163 h 6891912"/>
              <a:gd name="connsiteX1300" fmla="*/ 9646124 w 12252288"/>
              <a:gd name="connsiteY1300" fmla="*/ 252703 h 6891912"/>
              <a:gd name="connsiteX1301" fmla="*/ 9706108 w 12252288"/>
              <a:gd name="connsiteY1301" fmla="*/ 335662 h 6891912"/>
              <a:gd name="connsiteX1302" fmla="*/ 9804384 w 12252288"/>
              <a:gd name="connsiteY1302" fmla="*/ 395647 h 6891912"/>
              <a:gd name="connsiteX1303" fmla="*/ 9744398 w 12252288"/>
              <a:gd name="connsiteY1303" fmla="*/ 312689 h 6891912"/>
              <a:gd name="connsiteX1304" fmla="*/ 9629532 w 12252288"/>
              <a:gd name="connsiteY1304" fmla="*/ 245046 h 6891912"/>
              <a:gd name="connsiteX1305" fmla="*/ 9519772 w 12252288"/>
              <a:gd name="connsiteY1305" fmla="*/ 338214 h 6891912"/>
              <a:gd name="connsiteX1306" fmla="*/ 9587416 w 12252288"/>
              <a:gd name="connsiteY1306" fmla="*/ 432659 h 6891912"/>
              <a:gd name="connsiteX1307" fmla="*/ 9697176 w 12252288"/>
              <a:gd name="connsiteY1307" fmla="*/ 339491 h 6891912"/>
              <a:gd name="connsiteX1308" fmla="*/ 0 w 12252288"/>
              <a:gd name="connsiteY1308" fmla="*/ 0 h 6891912"/>
              <a:gd name="connsiteX1309" fmla="*/ 12252288 w 12252288"/>
              <a:gd name="connsiteY1309" fmla="*/ 0 h 6891912"/>
              <a:gd name="connsiteX1310" fmla="*/ 12252288 w 12252288"/>
              <a:gd name="connsiteY1310" fmla="*/ 6891912 h 6891912"/>
              <a:gd name="connsiteX1311" fmla="*/ 0 w 12252288"/>
              <a:gd name="connsiteY1311" fmla="*/ 6891912 h 689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</a:cxnLst>
            <a:rect l="l" t="t" r="r" b="b"/>
            <a:pathLst>
              <a:path w="12252288" h="6891912">
                <a:moveTo>
                  <a:pt x="11163620" y="533485"/>
                </a:moveTo>
                <a:lnTo>
                  <a:pt x="11178936" y="533485"/>
                </a:lnTo>
                <a:lnTo>
                  <a:pt x="11178936" y="534761"/>
                </a:lnTo>
                <a:cubicBezTo>
                  <a:pt x="11178936" y="538590"/>
                  <a:pt x="11177660" y="542419"/>
                  <a:pt x="11175108" y="544972"/>
                </a:cubicBezTo>
                <a:cubicBezTo>
                  <a:pt x="11172556" y="547524"/>
                  <a:pt x="11168726" y="548800"/>
                  <a:pt x="11164896" y="548800"/>
                </a:cubicBezTo>
                <a:cubicBezTo>
                  <a:pt x="11161068" y="548800"/>
                  <a:pt x="11158516" y="548800"/>
                  <a:pt x="11157240" y="547524"/>
                </a:cubicBezTo>
                <a:cubicBezTo>
                  <a:pt x="11155964" y="546248"/>
                  <a:pt x="11154688" y="544972"/>
                  <a:pt x="11154688" y="542419"/>
                </a:cubicBezTo>
                <a:cubicBezTo>
                  <a:pt x="11154688" y="539866"/>
                  <a:pt x="11154688" y="538590"/>
                  <a:pt x="11157240" y="537314"/>
                </a:cubicBezTo>
                <a:cubicBezTo>
                  <a:pt x="11158516" y="536038"/>
                  <a:pt x="11162344" y="534761"/>
                  <a:pt x="11163620" y="533485"/>
                </a:cubicBezTo>
                <a:close/>
                <a:moveTo>
                  <a:pt x="11531190" y="525827"/>
                </a:moveTo>
                <a:lnTo>
                  <a:pt x="11546504" y="525827"/>
                </a:lnTo>
                <a:cubicBezTo>
                  <a:pt x="11550334" y="525827"/>
                  <a:pt x="11554164" y="527104"/>
                  <a:pt x="11555440" y="528380"/>
                </a:cubicBezTo>
                <a:cubicBezTo>
                  <a:pt x="11557992" y="530932"/>
                  <a:pt x="11559268" y="532209"/>
                  <a:pt x="11559268" y="536038"/>
                </a:cubicBezTo>
                <a:lnTo>
                  <a:pt x="11559268" y="537314"/>
                </a:lnTo>
                <a:cubicBezTo>
                  <a:pt x="11559268" y="541143"/>
                  <a:pt x="11557992" y="542419"/>
                  <a:pt x="11555440" y="544972"/>
                </a:cubicBezTo>
                <a:cubicBezTo>
                  <a:pt x="11554164" y="546248"/>
                  <a:pt x="11550334" y="547524"/>
                  <a:pt x="11546504" y="547524"/>
                </a:cubicBezTo>
                <a:lnTo>
                  <a:pt x="11531190" y="547524"/>
                </a:lnTo>
                <a:close/>
                <a:moveTo>
                  <a:pt x="11851536" y="515617"/>
                </a:moveTo>
                <a:cubicBezTo>
                  <a:pt x="11856640" y="515617"/>
                  <a:pt x="11860470" y="518170"/>
                  <a:pt x="11863024" y="519446"/>
                </a:cubicBezTo>
                <a:cubicBezTo>
                  <a:pt x="11865576" y="521999"/>
                  <a:pt x="11866852" y="525827"/>
                  <a:pt x="11866852" y="530932"/>
                </a:cubicBezTo>
                <a:lnTo>
                  <a:pt x="11866852" y="532209"/>
                </a:lnTo>
                <a:cubicBezTo>
                  <a:pt x="11866852" y="536038"/>
                  <a:pt x="11865576" y="541143"/>
                  <a:pt x="11863024" y="543695"/>
                </a:cubicBezTo>
                <a:cubicBezTo>
                  <a:pt x="11860470" y="546248"/>
                  <a:pt x="11856640" y="547524"/>
                  <a:pt x="11851536" y="547524"/>
                </a:cubicBezTo>
                <a:cubicBezTo>
                  <a:pt x="11846432" y="547524"/>
                  <a:pt x="11842602" y="546248"/>
                  <a:pt x="11840050" y="543695"/>
                </a:cubicBezTo>
                <a:cubicBezTo>
                  <a:pt x="11837496" y="541143"/>
                  <a:pt x="11836220" y="537314"/>
                  <a:pt x="11836220" y="532209"/>
                </a:cubicBezTo>
                <a:lnTo>
                  <a:pt x="11836220" y="530932"/>
                </a:lnTo>
                <a:cubicBezTo>
                  <a:pt x="11836220" y="527104"/>
                  <a:pt x="11837496" y="521999"/>
                  <a:pt x="11840050" y="519446"/>
                </a:cubicBezTo>
                <a:cubicBezTo>
                  <a:pt x="11842602" y="516893"/>
                  <a:pt x="11846432" y="515617"/>
                  <a:pt x="11851536" y="515617"/>
                </a:cubicBezTo>
                <a:close/>
                <a:moveTo>
                  <a:pt x="11657542" y="515617"/>
                </a:moveTo>
                <a:cubicBezTo>
                  <a:pt x="11661372" y="515617"/>
                  <a:pt x="11665200" y="518170"/>
                  <a:pt x="11669028" y="519446"/>
                </a:cubicBezTo>
                <a:cubicBezTo>
                  <a:pt x="11671580" y="521999"/>
                  <a:pt x="11672856" y="525827"/>
                  <a:pt x="11672856" y="530932"/>
                </a:cubicBezTo>
                <a:lnTo>
                  <a:pt x="11672856" y="532209"/>
                </a:lnTo>
                <a:cubicBezTo>
                  <a:pt x="11672856" y="536038"/>
                  <a:pt x="11671580" y="541143"/>
                  <a:pt x="11669028" y="543695"/>
                </a:cubicBezTo>
                <a:cubicBezTo>
                  <a:pt x="11666476" y="546248"/>
                  <a:pt x="11662646" y="547524"/>
                  <a:pt x="11657542" y="547524"/>
                </a:cubicBezTo>
                <a:cubicBezTo>
                  <a:pt x="11652436" y="547524"/>
                  <a:pt x="11648608" y="546248"/>
                  <a:pt x="11646056" y="543695"/>
                </a:cubicBezTo>
                <a:cubicBezTo>
                  <a:pt x="11643502" y="541143"/>
                  <a:pt x="11642226" y="537314"/>
                  <a:pt x="11642226" y="532209"/>
                </a:cubicBezTo>
                <a:lnTo>
                  <a:pt x="11642226" y="530932"/>
                </a:lnTo>
                <a:cubicBezTo>
                  <a:pt x="11642226" y="527104"/>
                  <a:pt x="11643502" y="521999"/>
                  <a:pt x="11646056" y="519446"/>
                </a:cubicBezTo>
                <a:cubicBezTo>
                  <a:pt x="11648608" y="516893"/>
                  <a:pt x="11652436" y="515617"/>
                  <a:pt x="11657542" y="515617"/>
                </a:cubicBezTo>
                <a:close/>
                <a:moveTo>
                  <a:pt x="11113846" y="515617"/>
                </a:moveTo>
                <a:cubicBezTo>
                  <a:pt x="11118952" y="515617"/>
                  <a:pt x="11122780" y="516893"/>
                  <a:pt x="11125332" y="519446"/>
                </a:cubicBezTo>
                <a:cubicBezTo>
                  <a:pt x="11127886" y="521999"/>
                  <a:pt x="11129162" y="527104"/>
                  <a:pt x="11129162" y="532209"/>
                </a:cubicBezTo>
                <a:lnTo>
                  <a:pt x="11129162" y="533485"/>
                </a:lnTo>
                <a:cubicBezTo>
                  <a:pt x="11129162" y="538590"/>
                  <a:pt x="11127886" y="543695"/>
                  <a:pt x="11125332" y="546248"/>
                </a:cubicBezTo>
                <a:cubicBezTo>
                  <a:pt x="11122780" y="548800"/>
                  <a:pt x="11118952" y="550077"/>
                  <a:pt x="11113846" y="550077"/>
                </a:cubicBezTo>
                <a:cubicBezTo>
                  <a:pt x="11108740" y="550077"/>
                  <a:pt x="11104912" y="548800"/>
                  <a:pt x="11102360" y="546248"/>
                </a:cubicBezTo>
                <a:cubicBezTo>
                  <a:pt x="11099808" y="543695"/>
                  <a:pt x="11098532" y="538590"/>
                  <a:pt x="11098532" y="533485"/>
                </a:cubicBezTo>
                <a:lnTo>
                  <a:pt x="11098532" y="532209"/>
                </a:lnTo>
                <a:cubicBezTo>
                  <a:pt x="11098532" y="527104"/>
                  <a:pt x="11099808" y="521999"/>
                  <a:pt x="11102360" y="519446"/>
                </a:cubicBezTo>
                <a:cubicBezTo>
                  <a:pt x="11104912" y="516893"/>
                  <a:pt x="11108740" y="515617"/>
                  <a:pt x="11113846" y="515617"/>
                </a:cubicBezTo>
                <a:close/>
                <a:moveTo>
                  <a:pt x="10951758" y="515617"/>
                </a:moveTo>
                <a:cubicBezTo>
                  <a:pt x="10955588" y="515617"/>
                  <a:pt x="10960692" y="516893"/>
                  <a:pt x="10963244" y="519446"/>
                </a:cubicBezTo>
                <a:cubicBezTo>
                  <a:pt x="10965798" y="521999"/>
                  <a:pt x="10967074" y="527104"/>
                  <a:pt x="10967074" y="532209"/>
                </a:cubicBezTo>
                <a:lnTo>
                  <a:pt x="10967074" y="533485"/>
                </a:lnTo>
                <a:cubicBezTo>
                  <a:pt x="10967074" y="538590"/>
                  <a:pt x="10965798" y="543695"/>
                  <a:pt x="10963244" y="546248"/>
                </a:cubicBezTo>
                <a:cubicBezTo>
                  <a:pt x="10960692" y="548800"/>
                  <a:pt x="10956864" y="550077"/>
                  <a:pt x="10951758" y="550077"/>
                </a:cubicBezTo>
                <a:cubicBezTo>
                  <a:pt x="10946654" y="550077"/>
                  <a:pt x="10942824" y="548800"/>
                  <a:pt x="10940272" y="546248"/>
                </a:cubicBezTo>
                <a:cubicBezTo>
                  <a:pt x="10937720" y="543695"/>
                  <a:pt x="10936444" y="538590"/>
                  <a:pt x="10936444" y="533485"/>
                </a:cubicBezTo>
                <a:lnTo>
                  <a:pt x="10936444" y="532209"/>
                </a:lnTo>
                <a:cubicBezTo>
                  <a:pt x="10936444" y="527104"/>
                  <a:pt x="10937720" y="521999"/>
                  <a:pt x="10940272" y="519446"/>
                </a:cubicBezTo>
                <a:cubicBezTo>
                  <a:pt x="10942824" y="516893"/>
                  <a:pt x="10946654" y="515617"/>
                  <a:pt x="10951758" y="515617"/>
                </a:cubicBezTo>
                <a:close/>
                <a:moveTo>
                  <a:pt x="10868800" y="515617"/>
                </a:moveTo>
                <a:cubicBezTo>
                  <a:pt x="10872630" y="515617"/>
                  <a:pt x="10876458" y="518170"/>
                  <a:pt x="10880288" y="519446"/>
                </a:cubicBezTo>
                <a:cubicBezTo>
                  <a:pt x="10882840" y="521999"/>
                  <a:pt x="10884116" y="525827"/>
                  <a:pt x="10884116" y="530932"/>
                </a:cubicBezTo>
                <a:lnTo>
                  <a:pt x="10884116" y="532209"/>
                </a:lnTo>
                <a:cubicBezTo>
                  <a:pt x="10884116" y="536038"/>
                  <a:pt x="10882840" y="541143"/>
                  <a:pt x="10880288" y="543695"/>
                </a:cubicBezTo>
                <a:cubicBezTo>
                  <a:pt x="10877734" y="546248"/>
                  <a:pt x="10873906" y="547524"/>
                  <a:pt x="10868800" y="547524"/>
                </a:cubicBezTo>
                <a:cubicBezTo>
                  <a:pt x="10863696" y="547524"/>
                  <a:pt x="10859868" y="546248"/>
                  <a:pt x="10857314" y="543695"/>
                </a:cubicBezTo>
                <a:cubicBezTo>
                  <a:pt x="10854760" y="541143"/>
                  <a:pt x="10853484" y="537314"/>
                  <a:pt x="10853484" y="532209"/>
                </a:cubicBezTo>
                <a:lnTo>
                  <a:pt x="10853484" y="530932"/>
                </a:lnTo>
                <a:cubicBezTo>
                  <a:pt x="10853484" y="527104"/>
                  <a:pt x="10854760" y="521999"/>
                  <a:pt x="10857314" y="519446"/>
                </a:cubicBezTo>
                <a:cubicBezTo>
                  <a:pt x="10859868" y="516893"/>
                  <a:pt x="10863696" y="515617"/>
                  <a:pt x="10868800" y="515617"/>
                </a:cubicBezTo>
                <a:close/>
                <a:moveTo>
                  <a:pt x="10031560" y="515617"/>
                </a:moveTo>
                <a:cubicBezTo>
                  <a:pt x="10035388" y="515617"/>
                  <a:pt x="10040496" y="516893"/>
                  <a:pt x="10043048" y="519446"/>
                </a:cubicBezTo>
                <a:cubicBezTo>
                  <a:pt x="10045600" y="521999"/>
                  <a:pt x="10046876" y="527104"/>
                  <a:pt x="10046876" y="532209"/>
                </a:cubicBezTo>
                <a:lnTo>
                  <a:pt x="10046876" y="533485"/>
                </a:lnTo>
                <a:cubicBezTo>
                  <a:pt x="10046876" y="538590"/>
                  <a:pt x="10045600" y="543695"/>
                  <a:pt x="10043048" y="546248"/>
                </a:cubicBezTo>
                <a:cubicBezTo>
                  <a:pt x="10040496" y="548800"/>
                  <a:pt x="10036666" y="550077"/>
                  <a:pt x="10031560" y="550077"/>
                </a:cubicBezTo>
                <a:cubicBezTo>
                  <a:pt x="10026456" y="550077"/>
                  <a:pt x="10022628" y="548800"/>
                  <a:pt x="10020074" y="546248"/>
                </a:cubicBezTo>
                <a:cubicBezTo>
                  <a:pt x="10017522" y="543695"/>
                  <a:pt x="10016244" y="538590"/>
                  <a:pt x="10016244" y="533485"/>
                </a:cubicBezTo>
                <a:lnTo>
                  <a:pt x="10016244" y="532209"/>
                </a:lnTo>
                <a:cubicBezTo>
                  <a:pt x="10016244" y="527104"/>
                  <a:pt x="10017522" y="521999"/>
                  <a:pt x="10020074" y="519446"/>
                </a:cubicBezTo>
                <a:cubicBezTo>
                  <a:pt x="10022628" y="516893"/>
                  <a:pt x="10026456" y="515617"/>
                  <a:pt x="10031560" y="515617"/>
                </a:cubicBezTo>
                <a:close/>
                <a:moveTo>
                  <a:pt x="11910244" y="514341"/>
                </a:moveTo>
                <a:cubicBezTo>
                  <a:pt x="11914074" y="514341"/>
                  <a:pt x="11917902" y="515617"/>
                  <a:pt x="11920456" y="518170"/>
                </a:cubicBezTo>
                <a:cubicBezTo>
                  <a:pt x="11923008" y="520722"/>
                  <a:pt x="11924284" y="524551"/>
                  <a:pt x="11924284" y="528380"/>
                </a:cubicBezTo>
                <a:lnTo>
                  <a:pt x="11894930" y="528380"/>
                </a:lnTo>
                <a:cubicBezTo>
                  <a:pt x="11896206" y="523275"/>
                  <a:pt x="11897482" y="520722"/>
                  <a:pt x="11900036" y="518170"/>
                </a:cubicBezTo>
                <a:cubicBezTo>
                  <a:pt x="11902588" y="515617"/>
                  <a:pt x="11906416" y="514341"/>
                  <a:pt x="11910244" y="514341"/>
                </a:cubicBezTo>
                <a:close/>
                <a:moveTo>
                  <a:pt x="11381864" y="514341"/>
                </a:moveTo>
                <a:cubicBezTo>
                  <a:pt x="11385694" y="514341"/>
                  <a:pt x="11388246" y="515617"/>
                  <a:pt x="11392076" y="518170"/>
                </a:cubicBezTo>
                <a:cubicBezTo>
                  <a:pt x="11394628" y="520722"/>
                  <a:pt x="11395904" y="524551"/>
                  <a:pt x="11395904" y="528380"/>
                </a:cubicBezTo>
                <a:lnTo>
                  <a:pt x="11366548" y="528380"/>
                </a:lnTo>
                <a:cubicBezTo>
                  <a:pt x="11367826" y="523275"/>
                  <a:pt x="11369102" y="520722"/>
                  <a:pt x="11371656" y="518170"/>
                </a:cubicBezTo>
                <a:cubicBezTo>
                  <a:pt x="11374208" y="515617"/>
                  <a:pt x="11378036" y="514341"/>
                  <a:pt x="11381864" y="514341"/>
                </a:cubicBezTo>
                <a:close/>
                <a:moveTo>
                  <a:pt x="11256790" y="514341"/>
                </a:moveTo>
                <a:cubicBezTo>
                  <a:pt x="11260618" y="514341"/>
                  <a:pt x="11263172" y="515617"/>
                  <a:pt x="11267000" y="518170"/>
                </a:cubicBezTo>
                <a:cubicBezTo>
                  <a:pt x="11269552" y="520722"/>
                  <a:pt x="11270828" y="524551"/>
                  <a:pt x="11270828" y="528380"/>
                </a:cubicBezTo>
                <a:lnTo>
                  <a:pt x="11241474" y="528380"/>
                </a:lnTo>
                <a:cubicBezTo>
                  <a:pt x="11242752" y="523275"/>
                  <a:pt x="11244028" y="520722"/>
                  <a:pt x="11246580" y="518170"/>
                </a:cubicBezTo>
                <a:cubicBezTo>
                  <a:pt x="11249132" y="515617"/>
                  <a:pt x="11252960" y="514341"/>
                  <a:pt x="11256790" y="514341"/>
                </a:cubicBezTo>
                <a:close/>
                <a:moveTo>
                  <a:pt x="11007916" y="514341"/>
                </a:moveTo>
                <a:cubicBezTo>
                  <a:pt x="11013020" y="514341"/>
                  <a:pt x="11015572" y="515617"/>
                  <a:pt x="11018124" y="518170"/>
                </a:cubicBezTo>
                <a:cubicBezTo>
                  <a:pt x="11020678" y="520722"/>
                  <a:pt x="11021954" y="524551"/>
                  <a:pt x="11021954" y="528380"/>
                </a:cubicBezTo>
                <a:lnTo>
                  <a:pt x="10992600" y="528380"/>
                </a:lnTo>
                <a:cubicBezTo>
                  <a:pt x="10993876" y="523275"/>
                  <a:pt x="10995152" y="520722"/>
                  <a:pt x="10997704" y="518170"/>
                </a:cubicBezTo>
                <a:cubicBezTo>
                  <a:pt x="11000258" y="515617"/>
                  <a:pt x="11004086" y="514341"/>
                  <a:pt x="11007916" y="514341"/>
                </a:cubicBezTo>
                <a:close/>
                <a:moveTo>
                  <a:pt x="10780736" y="514341"/>
                </a:moveTo>
                <a:cubicBezTo>
                  <a:pt x="10784566" y="514341"/>
                  <a:pt x="10788396" y="515617"/>
                  <a:pt x="10790948" y="518170"/>
                </a:cubicBezTo>
                <a:cubicBezTo>
                  <a:pt x="10793500" y="520722"/>
                  <a:pt x="10794776" y="524551"/>
                  <a:pt x="10794776" y="528380"/>
                </a:cubicBezTo>
                <a:lnTo>
                  <a:pt x="10765422" y="528380"/>
                </a:lnTo>
                <a:cubicBezTo>
                  <a:pt x="10766698" y="523275"/>
                  <a:pt x="10767976" y="520722"/>
                  <a:pt x="10770528" y="518170"/>
                </a:cubicBezTo>
                <a:cubicBezTo>
                  <a:pt x="10773080" y="515617"/>
                  <a:pt x="10776908" y="514341"/>
                  <a:pt x="10780736" y="514341"/>
                </a:cubicBezTo>
                <a:close/>
                <a:moveTo>
                  <a:pt x="10557388" y="514341"/>
                </a:moveTo>
                <a:cubicBezTo>
                  <a:pt x="10562492" y="514341"/>
                  <a:pt x="10566322" y="516893"/>
                  <a:pt x="10568874" y="519446"/>
                </a:cubicBezTo>
                <a:cubicBezTo>
                  <a:pt x="10571428" y="523275"/>
                  <a:pt x="10572704" y="527104"/>
                  <a:pt x="10572704" y="532209"/>
                </a:cubicBezTo>
                <a:lnTo>
                  <a:pt x="10572704" y="533485"/>
                </a:lnTo>
                <a:cubicBezTo>
                  <a:pt x="10572704" y="538590"/>
                  <a:pt x="10571428" y="543695"/>
                  <a:pt x="10568874" y="546248"/>
                </a:cubicBezTo>
                <a:cubicBezTo>
                  <a:pt x="10566322" y="548800"/>
                  <a:pt x="10562492" y="550077"/>
                  <a:pt x="10557388" y="550077"/>
                </a:cubicBezTo>
                <a:cubicBezTo>
                  <a:pt x="10553560" y="550077"/>
                  <a:pt x="10548454" y="547524"/>
                  <a:pt x="10545900" y="546248"/>
                </a:cubicBezTo>
                <a:cubicBezTo>
                  <a:pt x="10543348" y="542419"/>
                  <a:pt x="10542072" y="538590"/>
                  <a:pt x="10542072" y="533485"/>
                </a:cubicBezTo>
                <a:lnTo>
                  <a:pt x="10542072" y="532209"/>
                </a:lnTo>
                <a:cubicBezTo>
                  <a:pt x="10542072" y="527104"/>
                  <a:pt x="10543348" y="521999"/>
                  <a:pt x="10545900" y="519446"/>
                </a:cubicBezTo>
                <a:cubicBezTo>
                  <a:pt x="10548454" y="515617"/>
                  <a:pt x="10552284" y="514341"/>
                  <a:pt x="10557388" y="514341"/>
                </a:cubicBezTo>
                <a:close/>
                <a:moveTo>
                  <a:pt x="10406788" y="514341"/>
                </a:moveTo>
                <a:cubicBezTo>
                  <a:pt x="10410616" y="514341"/>
                  <a:pt x="10413168" y="515617"/>
                  <a:pt x="10416998" y="518170"/>
                </a:cubicBezTo>
                <a:cubicBezTo>
                  <a:pt x="10419550" y="520722"/>
                  <a:pt x="10420826" y="524551"/>
                  <a:pt x="10420826" y="528380"/>
                </a:cubicBezTo>
                <a:lnTo>
                  <a:pt x="10391472" y="528380"/>
                </a:lnTo>
                <a:cubicBezTo>
                  <a:pt x="10392748" y="523275"/>
                  <a:pt x="10394024" y="520722"/>
                  <a:pt x="10396576" y="518170"/>
                </a:cubicBezTo>
                <a:cubicBezTo>
                  <a:pt x="10399128" y="515617"/>
                  <a:pt x="10402958" y="514341"/>
                  <a:pt x="10406788" y="514341"/>
                </a:cubicBezTo>
                <a:close/>
                <a:moveTo>
                  <a:pt x="10256186" y="514341"/>
                </a:moveTo>
                <a:cubicBezTo>
                  <a:pt x="10261292" y="514341"/>
                  <a:pt x="10263844" y="515617"/>
                  <a:pt x="10266396" y="518170"/>
                </a:cubicBezTo>
                <a:cubicBezTo>
                  <a:pt x="10268948" y="520722"/>
                  <a:pt x="10270224" y="524551"/>
                  <a:pt x="10270224" y="528380"/>
                </a:cubicBezTo>
                <a:lnTo>
                  <a:pt x="10240872" y="528380"/>
                </a:lnTo>
                <a:cubicBezTo>
                  <a:pt x="10240872" y="523275"/>
                  <a:pt x="10243424" y="520722"/>
                  <a:pt x="10245976" y="518170"/>
                </a:cubicBezTo>
                <a:cubicBezTo>
                  <a:pt x="10248528" y="515617"/>
                  <a:pt x="10252356" y="514341"/>
                  <a:pt x="10256186" y="514341"/>
                </a:cubicBezTo>
                <a:close/>
                <a:moveTo>
                  <a:pt x="10090268" y="514341"/>
                </a:moveTo>
                <a:cubicBezTo>
                  <a:pt x="10095376" y="514341"/>
                  <a:pt x="10097928" y="515617"/>
                  <a:pt x="10100480" y="518170"/>
                </a:cubicBezTo>
                <a:cubicBezTo>
                  <a:pt x="10103032" y="520722"/>
                  <a:pt x="10104308" y="524551"/>
                  <a:pt x="10104308" y="528380"/>
                </a:cubicBezTo>
                <a:lnTo>
                  <a:pt x="10074956" y="528380"/>
                </a:lnTo>
                <a:cubicBezTo>
                  <a:pt x="10074956" y="523275"/>
                  <a:pt x="10077508" y="520722"/>
                  <a:pt x="10080060" y="518170"/>
                </a:cubicBezTo>
                <a:cubicBezTo>
                  <a:pt x="10082612" y="515617"/>
                  <a:pt x="10086440" y="514341"/>
                  <a:pt x="10090268" y="514341"/>
                </a:cubicBezTo>
                <a:close/>
                <a:moveTo>
                  <a:pt x="11579688" y="510512"/>
                </a:moveTo>
                <a:lnTo>
                  <a:pt x="11579688" y="538590"/>
                </a:lnTo>
                <a:cubicBezTo>
                  <a:pt x="11579688" y="542419"/>
                  <a:pt x="11580964" y="546248"/>
                  <a:pt x="11582240" y="548800"/>
                </a:cubicBezTo>
                <a:cubicBezTo>
                  <a:pt x="11583516" y="551353"/>
                  <a:pt x="11586070" y="553906"/>
                  <a:pt x="11588622" y="555182"/>
                </a:cubicBezTo>
                <a:cubicBezTo>
                  <a:pt x="11591176" y="556458"/>
                  <a:pt x="11593728" y="557734"/>
                  <a:pt x="11597556" y="557734"/>
                </a:cubicBezTo>
                <a:cubicBezTo>
                  <a:pt x="11600108" y="557734"/>
                  <a:pt x="11602660" y="556458"/>
                  <a:pt x="11605214" y="556458"/>
                </a:cubicBezTo>
                <a:cubicBezTo>
                  <a:pt x="11607768" y="555182"/>
                  <a:pt x="11609044" y="555182"/>
                  <a:pt x="11610320" y="553906"/>
                </a:cubicBezTo>
                <a:cubicBezTo>
                  <a:pt x="11611596" y="552629"/>
                  <a:pt x="11612872" y="551353"/>
                  <a:pt x="11612872" y="550077"/>
                </a:cubicBezTo>
                <a:lnTo>
                  <a:pt x="11614148" y="550077"/>
                </a:lnTo>
                <a:lnTo>
                  <a:pt x="11614148" y="566668"/>
                </a:lnTo>
                <a:cubicBezTo>
                  <a:pt x="11614148" y="569221"/>
                  <a:pt x="11612872" y="569221"/>
                  <a:pt x="11611596" y="569221"/>
                </a:cubicBezTo>
                <a:lnTo>
                  <a:pt x="11584794" y="569221"/>
                </a:lnTo>
                <a:lnTo>
                  <a:pt x="11584794" y="574326"/>
                </a:lnTo>
                <a:lnTo>
                  <a:pt x="11584794" y="575602"/>
                </a:lnTo>
                <a:lnTo>
                  <a:pt x="11612872" y="575602"/>
                </a:lnTo>
                <a:cubicBezTo>
                  <a:pt x="11615424" y="575602"/>
                  <a:pt x="11617976" y="574326"/>
                  <a:pt x="11619252" y="573050"/>
                </a:cubicBezTo>
                <a:cubicBezTo>
                  <a:pt x="11620528" y="571773"/>
                  <a:pt x="11621804" y="570497"/>
                  <a:pt x="11621804" y="567945"/>
                </a:cubicBezTo>
                <a:lnTo>
                  <a:pt x="11621804" y="510512"/>
                </a:lnTo>
                <a:lnTo>
                  <a:pt x="11620528" y="510512"/>
                </a:lnTo>
                <a:lnTo>
                  <a:pt x="11614148" y="510512"/>
                </a:lnTo>
                <a:lnTo>
                  <a:pt x="11614148" y="533485"/>
                </a:lnTo>
                <a:cubicBezTo>
                  <a:pt x="11614148" y="538590"/>
                  <a:pt x="11612872" y="543695"/>
                  <a:pt x="11610320" y="546248"/>
                </a:cubicBezTo>
                <a:cubicBezTo>
                  <a:pt x="11607768" y="548800"/>
                  <a:pt x="11603938" y="550077"/>
                  <a:pt x="11600108" y="550077"/>
                </a:cubicBezTo>
                <a:cubicBezTo>
                  <a:pt x="11596280" y="550077"/>
                  <a:pt x="11592452" y="548800"/>
                  <a:pt x="11591176" y="547524"/>
                </a:cubicBezTo>
                <a:cubicBezTo>
                  <a:pt x="11588622" y="544972"/>
                  <a:pt x="11587346" y="542419"/>
                  <a:pt x="11587346" y="537314"/>
                </a:cubicBezTo>
                <a:lnTo>
                  <a:pt x="11587346" y="510512"/>
                </a:lnTo>
                <a:close/>
                <a:moveTo>
                  <a:pt x="11943428" y="509236"/>
                </a:moveTo>
                <a:lnTo>
                  <a:pt x="11943428" y="555182"/>
                </a:lnTo>
                <a:lnTo>
                  <a:pt x="11951086" y="555182"/>
                </a:lnTo>
                <a:lnTo>
                  <a:pt x="11951086" y="527104"/>
                </a:lnTo>
                <a:cubicBezTo>
                  <a:pt x="11951086" y="523275"/>
                  <a:pt x="11952362" y="520722"/>
                  <a:pt x="11953638" y="518170"/>
                </a:cubicBezTo>
                <a:cubicBezTo>
                  <a:pt x="11956192" y="515617"/>
                  <a:pt x="11957468" y="515617"/>
                  <a:pt x="11961296" y="515617"/>
                </a:cubicBezTo>
                <a:lnTo>
                  <a:pt x="11966400" y="515617"/>
                </a:lnTo>
                <a:lnTo>
                  <a:pt x="11966400" y="509236"/>
                </a:lnTo>
                <a:lnTo>
                  <a:pt x="11962572" y="509236"/>
                </a:lnTo>
                <a:cubicBezTo>
                  <a:pt x="11960020" y="509236"/>
                  <a:pt x="11957468" y="510512"/>
                  <a:pt x="11956192" y="510512"/>
                </a:cubicBezTo>
                <a:cubicBezTo>
                  <a:pt x="11954916" y="511788"/>
                  <a:pt x="11953638" y="513065"/>
                  <a:pt x="11952362" y="514341"/>
                </a:cubicBezTo>
                <a:lnTo>
                  <a:pt x="11951086" y="514341"/>
                </a:lnTo>
                <a:lnTo>
                  <a:pt x="11951086" y="509236"/>
                </a:lnTo>
                <a:close/>
                <a:moveTo>
                  <a:pt x="11911520" y="509236"/>
                </a:moveTo>
                <a:cubicBezTo>
                  <a:pt x="11906416" y="509236"/>
                  <a:pt x="11902588" y="510512"/>
                  <a:pt x="11900036" y="511788"/>
                </a:cubicBezTo>
                <a:cubicBezTo>
                  <a:pt x="11897482" y="514341"/>
                  <a:pt x="11894930" y="516893"/>
                  <a:pt x="11892376" y="520722"/>
                </a:cubicBezTo>
                <a:cubicBezTo>
                  <a:pt x="11889824" y="524551"/>
                  <a:pt x="11889824" y="528380"/>
                  <a:pt x="11889824" y="533485"/>
                </a:cubicBezTo>
                <a:lnTo>
                  <a:pt x="11889824" y="534761"/>
                </a:lnTo>
                <a:cubicBezTo>
                  <a:pt x="11889824" y="538590"/>
                  <a:pt x="11891100" y="543695"/>
                  <a:pt x="11892376" y="546248"/>
                </a:cubicBezTo>
                <a:cubicBezTo>
                  <a:pt x="11893654" y="550077"/>
                  <a:pt x="11896206" y="552629"/>
                  <a:pt x="11900036" y="555182"/>
                </a:cubicBezTo>
                <a:cubicBezTo>
                  <a:pt x="11903864" y="557734"/>
                  <a:pt x="11907692" y="557734"/>
                  <a:pt x="11911520" y="557734"/>
                </a:cubicBezTo>
                <a:cubicBezTo>
                  <a:pt x="11915350" y="557734"/>
                  <a:pt x="11919180" y="556458"/>
                  <a:pt x="11921732" y="555182"/>
                </a:cubicBezTo>
                <a:cubicBezTo>
                  <a:pt x="11924284" y="553906"/>
                  <a:pt x="11926836" y="552629"/>
                  <a:pt x="11928112" y="550077"/>
                </a:cubicBezTo>
                <a:cubicBezTo>
                  <a:pt x="11930664" y="547524"/>
                  <a:pt x="11931942" y="546248"/>
                  <a:pt x="11931942" y="544972"/>
                </a:cubicBezTo>
                <a:lnTo>
                  <a:pt x="11925560" y="542419"/>
                </a:lnTo>
                <a:cubicBezTo>
                  <a:pt x="11924284" y="544972"/>
                  <a:pt x="11923008" y="546248"/>
                  <a:pt x="11920456" y="548800"/>
                </a:cubicBezTo>
                <a:cubicBezTo>
                  <a:pt x="11917902" y="551353"/>
                  <a:pt x="11915350" y="551353"/>
                  <a:pt x="11911520" y="551353"/>
                </a:cubicBezTo>
                <a:cubicBezTo>
                  <a:pt x="11907692" y="551353"/>
                  <a:pt x="11902588" y="550077"/>
                  <a:pt x="11900036" y="547524"/>
                </a:cubicBezTo>
                <a:cubicBezTo>
                  <a:pt x="11896206" y="544972"/>
                  <a:pt x="11894930" y="541143"/>
                  <a:pt x="11894930" y="536038"/>
                </a:cubicBezTo>
                <a:lnTo>
                  <a:pt x="11933218" y="536038"/>
                </a:lnTo>
                <a:lnTo>
                  <a:pt x="11933218" y="530932"/>
                </a:lnTo>
                <a:cubicBezTo>
                  <a:pt x="11933218" y="527104"/>
                  <a:pt x="11931942" y="521999"/>
                  <a:pt x="11930664" y="519446"/>
                </a:cubicBezTo>
                <a:cubicBezTo>
                  <a:pt x="11928112" y="515617"/>
                  <a:pt x="11926836" y="514341"/>
                  <a:pt x="11923008" y="511788"/>
                </a:cubicBezTo>
                <a:cubicBezTo>
                  <a:pt x="11919180" y="509236"/>
                  <a:pt x="11915350" y="509236"/>
                  <a:pt x="11911520" y="509236"/>
                </a:cubicBezTo>
                <a:close/>
                <a:moveTo>
                  <a:pt x="11750710" y="509236"/>
                </a:moveTo>
                <a:lnTo>
                  <a:pt x="11750710" y="555182"/>
                </a:lnTo>
                <a:lnTo>
                  <a:pt x="11758368" y="555182"/>
                </a:lnTo>
                <a:lnTo>
                  <a:pt x="11758368" y="509236"/>
                </a:lnTo>
                <a:close/>
                <a:moveTo>
                  <a:pt x="11472480" y="509236"/>
                </a:moveTo>
                <a:lnTo>
                  <a:pt x="11472480" y="555182"/>
                </a:lnTo>
                <a:lnTo>
                  <a:pt x="11480140" y="555182"/>
                </a:lnTo>
                <a:lnTo>
                  <a:pt x="11480140" y="509236"/>
                </a:lnTo>
                <a:close/>
                <a:moveTo>
                  <a:pt x="11415048" y="509236"/>
                </a:moveTo>
                <a:lnTo>
                  <a:pt x="11415048" y="555182"/>
                </a:lnTo>
                <a:lnTo>
                  <a:pt x="11422706" y="555182"/>
                </a:lnTo>
                <a:lnTo>
                  <a:pt x="11422706" y="527104"/>
                </a:lnTo>
                <a:cubicBezTo>
                  <a:pt x="11422706" y="523275"/>
                  <a:pt x="11423982" y="520722"/>
                  <a:pt x="11425260" y="518170"/>
                </a:cubicBezTo>
                <a:cubicBezTo>
                  <a:pt x="11427812" y="515617"/>
                  <a:pt x="11429088" y="515617"/>
                  <a:pt x="11432916" y="515617"/>
                </a:cubicBezTo>
                <a:lnTo>
                  <a:pt x="11438022" y="515617"/>
                </a:lnTo>
                <a:lnTo>
                  <a:pt x="11438022" y="509236"/>
                </a:lnTo>
                <a:lnTo>
                  <a:pt x="11434192" y="509236"/>
                </a:lnTo>
                <a:cubicBezTo>
                  <a:pt x="11431640" y="509236"/>
                  <a:pt x="11429088" y="510512"/>
                  <a:pt x="11427812" y="510512"/>
                </a:cubicBezTo>
                <a:cubicBezTo>
                  <a:pt x="11426536" y="511788"/>
                  <a:pt x="11425260" y="513065"/>
                  <a:pt x="11423982" y="514341"/>
                </a:cubicBezTo>
                <a:lnTo>
                  <a:pt x="11422706" y="514341"/>
                </a:lnTo>
                <a:lnTo>
                  <a:pt x="11422706" y="509236"/>
                </a:lnTo>
                <a:close/>
                <a:moveTo>
                  <a:pt x="11381864" y="509236"/>
                </a:moveTo>
                <a:cubicBezTo>
                  <a:pt x="11376760" y="509236"/>
                  <a:pt x="11372932" y="510512"/>
                  <a:pt x="11370380" y="511788"/>
                </a:cubicBezTo>
                <a:cubicBezTo>
                  <a:pt x="11367826" y="514341"/>
                  <a:pt x="11365272" y="516893"/>
                  <a:pt x="11362720" y="520722"/>
                </a:cubicBezTo>
                <a:cubicBezTo>
                  <a:pt x="11360168" y="524551"/>
                  <a:pt x="11360168" y="528380"/>
                  <a:pt x="11360168" y="533485"/>
                </a:cubicBezTo>
                <a:lnTo>
                  <a:pt x="11360168" y="534761"/>
                </a:lnTo>
                <a:cubicBezTo>
                  <a:pt x="11360168" y="538590"/>
                  <a:pt x="11361444" y="543695"/>
                  <a:pt x="11362720" y="546248"/>
                </a:cubicBezTo>
                <a:cubicBezTo>
                  <a:pt x="11363996" y="550077"/>
                  <a:pt x="11366548" y="552629"/>
                  <a:pt x="11370380" y="555182"/>
                </a:cubicBezTo>
                <a:cubicBezTo>
                  <a:pt x="11374208" y="557734"/>
                  <a:pt x="11378036" y="557734"/>
                  <a:pt x="11381864" y="557734"/>
                </a:cubicBezTo>
                <a:cubicBezTo>
                  <a:pt x="11385694" y="557734"/>
                  <a:pt x="11389524" y="556458"/>
                  <a:pt x="11392076" y="555182"/>
                </a:cubicBezTo>
                <a:cubicBezTo>
                  <a:pt x="11394628" y="553906"/>
                  <a:pt x="11397180" y="552629"/>
                  <a:pt x="11398456" y="550077"/>
                </a:cubicBezTo>
                <a:cubicBezTo>
                  <a:pt x="11401008" y="547524"/>
                  <a:pt x="11402286" y="546248"/>
                  <a:pt x="11402286" y="544972"/>
                </a:cubicBezTo>
                <a:lnTo>
                  <a:pt x="11395904" y="542419"/>
                </a:lnTo>
                <a:cubicBezTo>
                  <a:pt x="11394628" y="544972"/>
                  <a:pt x="11393352" y="546248"/>
                  <a:pt x="11390800" y="548800"/>
                </a:cubicBezTo>
                <a:cubicBezTo>
                  <a:pt x="11388246" y="551353"/>
                  <a:pt x="11385694" y="551353"/>
                  <a:pt x="11381864" y="551353"/>
                </a:cubicBezTo>
                <a:cubicBezTo>
                  <a:pt x="11378036" y="551353"/>
                  <a:pt x="11372932" y="550077"/>
                  <a:pt x="11370380" y="547524"/>
                </a:cubicBezTo>
                <a:cubicBezTo>
                  <a:pt x="11367826" y="544972"/>
                  <a:pt x="11365272" y="541143"/>
                  <a:pt x="11365272" y="536038"/>
                </a:cubicBezTo>
                <a:lnTo>
                  <a:pt x="11403562" y="536038"/>
                </a:lnTo>
                <a:lnTo>
                  <a:pt x="11403562" y="530932"/>
                </a:lnTo>
                <a:cubicBezTo>
                  <a:pt x="11403562" y="527104"/>
                  <a:pt x="11402286" y="521999"/>
                  <a:pt x="11401008" y="519446"/>
                </a:cubicBezTo>
                <a:cubicBezTo>
                  <a:pt x="11398456" y="515617"/>
                  <a:pt x="11397180" y="514341"/>
                  <a:pt x="11393352" y="511788"/>
                </a:cubicBezTo>
                <a:cubicBezTo>
                  <a:pt x="11389524" y="509236"/>
                  <a:pt x="11385694" y="509236"/>
                  <a:pt x="11381864" y="509236"/>
                </a:cubicBezTo>
                <a:close/>
                <a:moveTo>
                  <a:pt x="11258066" y="509236"/>
                </a:moveTo>
                <a:cubicBezTo>
                  <a:pt x="11252960" y="509236"/>
                  <a:pt x="11249132" y="510512"/>
                  <a:pt x="11246580" y="511788"/>
                </a:cubicBezTo>
                <a:cubicBezTo>
                  <a:pt x="11244028" y="514341"/>
                  <a:pt x="11241474" y="516893"/>
                  <a:pt x="11238920" y="520722"/>
                </a:cubicBezTo>
                <a:cubicBezTo>
                  <a:pt x="11236368" y="524551"/>
                  <a:pt x="11236368" y="528380"/>
                  <a:pt x="11236368" y="533485"/>
                </a:cubicBezTo>
                <a:lnTo>
                  <a:pt x="11236368" y="534761"/>
                </a:lnTo>
                <a:cubicBezTo>
                  <a:pt x="11236368" y="538590"/>
                  <a:pt x="11237644" y="543695"/>
                  <a:pt x="11238920" y="546248"/>
                </a:cubicBezTo>
                <a:cubicBezTo>
                  <a:pt x="11240198" y="550077"/>
                  <a:pt x="11242752" y="552629"/>
                  <a:pt x="11246580" y="555182"/>
                </a:cubicBezTo>
                <a:cubicBezTo>
                  <a:pt x="11250408" y="557734"/>
                  <a:pt x="11254236" y="557734"/>
                  <a:pt x="11258066" y="557734"/>
                </a:cubicBezTo>
                <a:cubicBezTo>
                  <a:pt x="11261896" y="557734"/>
                  <a:pt x="11265724" y="556458"/>
                  <a:pt x="11268276" y="555182"/>
                </a:cubicBezTo>
                <a:cubicBezTo>
                  <a:pt x="11270828" y="553906"/>
                  <a:pt x="11273380" y="552629"/>
                  <a:pt x="11274658" y="550077"/>
                </a:cubicBezTo>
                <a:cubicBezTo>
                  <a:pt x="11277210" y="547524"/>
                  <a:pt x="11278488" y="546248"/>
                  <a:pt x="11278488" y="544972"/>
                </a:cubicBezTo>
                <a:lnTo>
                  <a:pt x="11272104" y="542419"/>
                </a:lnTo>
                <a:cubicBezTo>
                  <a:pt x="11270828" y="544972"/>
                  <a:pt x="11269552" y="546248"/>
                  <a:pt x="11267000" y="548800"/>
                </a:cubicBezTo>
                <a:cubicBezTo>
                  <a:pt x="11264448" y="551353"/>
                  <a:pt x="11261896" y="551353"/>
                  <a:pt x="11258066" y="551353"/>
                </a:cubicBezTo>
                <a:cubicBezTo>
                  <a:pt x="11254236" y="551353"/>
                  <a:pt x="11249132" y="550077"/>
                  <a:pt x="11246580" y="547524"/>
                </a:cubicBezTo>
                <a:cubicBezTo>
                  <a:pt x="11244028" y="544972"/>
                  <a:pt x="11241474" y="541143"/>
                  <a:pt x="11241474" y="536038"/>
                </a:cubicBezTo>
                <a:lnTo>
                  <a:pt x="11279762" y="536038"/>
                </a:lnTo>
                <a:lnTo>
                  <a:pt x="11279762" y="530932"/>
                </a:lnTo>
                <a:cubicBezTo>
                  <a:pt x="11279762" y="527104"/>
                  <a:pt x="11278488" y="521999"/>
                  <a:pt x="11277210" y="519446"/>
                </a:cubicBezTo>
                <a:cubicBezTo>
                  <a:pt x="11274658" y="515617"/>
                  <a:pt x="11273380" y="514341"/>
                  <a:pt x="11269552" y="511788"/>
                </a:cubicBezTo>
                <a:cubicBezTo>
                  <a:pt x="11265724" y="509236"/>
                  <a:pt x="11261896" y="509236"/>
                  <a:pt x="11258066" y="509236"/>
                </a:cubicBezTo>
                <a:close/>
                <a:moveTo>
                  <a:pt x="11203186" y="509236"/>
                </a:moveTo>
                <a:lnTo>
                  <a:pt x="11203186" y="555182"/>
                </a:lnTo>
                <a:lnTo>
                  <a:pt x="11210844" y="555182"/>
                </a:lnTo>
                <a:lnTo>
                  <a:pt x="11210844" y="527104"/>
                </a:lnTo>
                <a:cubicBezTo>
                  <a:pt x="11210844" y="523275"/>
                  <a:pt x="11212120" y="520722"/>
                  <a:pt x="11213396" y="518170"/>
                </a:cubicBezTo>
                <a:cubicBezTo>
                  <a:pt x="11215948" y="515617"/>
                  <a:pt x="11217224" y="515617"/>
                  <a:pt x="11221054" y="515617"/>
                </a:cubicBezTo>
                <a:lnTo>
                  <a:pt x="11226160" y="515617"/>
                </a:lnTo>
                <a:lnTo>
                  <a:pt x="11226160" y="509236"/>
                </a:lnTo>
                <a:lnTo>
                  <a:pt x="11222330" y="509236"/>
                </a:lnTo>
                <a:cubicBezTo>
                  <a:pt x="11219776" y="509236"/>
                  <a:pt x="11217224" y="510512"/>
                  <a:pt x="11215948" y="510512"/>
                </a:cubicBezTo>
                <a:cubicBezTo>
                  <a:pt x="11214672" y="511788"/>
                  <a:pt x="11213396" y="513065"/>
                  <a:pt x="11212120" y="514341"/>
                </a:cubicBezTo>
                <a:lnTo>
                  <a:pt x="11210844" y="514341"/>
                </a:lnTo>
                <a:lnTo>
                  <a:pt x="11210844" y="509236"/>
                </a:lnTo>
                <a:close/>
                <a:moveTo>
                  <a:pt x="11168726" y="509236"/>
                </a:moveTo>
                <a:cubicBezTo>
                  <a:pt x="11164896" y="509236"/>
                  <a:pt x="11161068" y="510512"/>
                  <a:pt x="11158516" y="511788"/>
                </a:cubicBezTo>
                <a:cubicBezTo>
                  <a:pt x="11155964" y="513065"/>
                  <a:pt x="11153412" y="514341"/>
                  <a:pt x="11152134" y="516893"/>
                </a:cubicBezTo>
                <a:cubicBezTo>
                  <a:pt x="11150860" y="519446"/>
                  <a:pt x="11149582" y="520722"/>
                  <a:pt x="11148306" y="524551"/>
                </a:cubicBezTo>
                <a:lnTo>
                  <a:pt x="11155964" y="527104"/>
                </a:lnTo>
                <a:cubicBezTo>
                  <a:pt x="11157240" y="524551"/>
                  <a:pt x="11158516" y="521999"/>
                  <a:pt x="11159792" y="519446"/>
                </a:cubicBezTo>
                <a:cubicBezTo>
                  <a:pt x="11162344" y="516893"/>
                  <a:pt x="11164896" y="516893"/>
                  <a:pt x="11168726" y="516893"/>
                </a:cubicBezTo>
                <a:cubicBezTo>
                  <a:pt x="11172556" y="516893"/>
                  <a:pt x="11175108" y="518170"/>
                  <a:pt x="11177660" y="519446"/>
                </a:cubicBezTo>
                <a:cubicBezTo>
                  <a:pt x="11180212" y="521999"/>
                  <a:pt x="11180212" y="523275"/>
                  <a:pt x="11180212" y="527104"/>
                </a:cubicBezTo>
                <a:lnTo>
                  <a:pt x="11180212" y="530932"/>
                </a:lnTo>
                <a:lnTo>
                  <a:pt x="11164896" y="530932"/>
                </a:lnTo>
                <a:cubicBezTo>
                  <a:pt x="11162344" y="530932"/>
                  <a:pt x="11159792" y="532209"/>
                  <a:pt x="11155964" y="532209"/>
                </a:cubicBezTo>
                <a:cubicBezTo>
                  <a:pt x="11153412" y="533485"/>
                  <a:pt x="11150860" y="534761"/>
                  <a:pt x="11149582" y="536038"/>
                </a:cubicBezTo>
                <a:cubicBezTo>
                  <a:pt x="11148306" y="538590"/>
                  <a:pt x="11147030" y="541143"/>
                  <a:pt x="11147030" y="543695"/>
                </a:cubicBezTo>
                <a:cubicBezTo>
                  <a:pt x="11147030" y="546248"/>
                  <a:pt x="11148306" y="548800"/>
                  <a:pt x="11149582" y="551353"/>
                </a:cubicBezTo>
                <a:cubicBezTo>
                  <a:pt x="11150860" y="553906"/>
                  <a:pt x="11153412" y="555182"/>
                  <a:pt x="11155964" y="556458"/>
                </a:cubicBezTo>
                <a:cubicBezTo>
                  <a:pt x="11158516" y="557734"/>
                  <a:pt x="11161068" y="557734"/>
                  <a:pt x="11164896" y="557734"/>
                </a:cubicBezTo>
                <a:cubicBezTo>
                  <a:pt x="11168726" y="557734"/>
                  <a:pt x="11170004" y="556458"/>
                  <a:pt x="11172556" y="555182"/>
                </a:cubicBezTo>
                <a:cubicBezTo>
                  <a:pt x="11175108" y="553906"/>
                  <a:pt x="11176384" y="553906"/>
                  <a:pt x="11177660" y="552629"/>
                </a:cubicBezTo>
                <a:cubicBezTo>
                  <a:pt x="11178936" y="551353"/>
                  <a:pt x="11180212" y="550077"/>
                  <a:pt x="11180212" y="548800"/>
                </a:cubicBezTo>
                <a:lnTo>
                  <a:pt x="11181488" y="548800"/>
                </a:lnTo>
                <a:cubicBezTo>
                  <a:pt x="11181488" y="551353"/>
                  <a:pt x="11182766" y="552629"/>
                  <a:pt x="11184040" y="553906"/>
                </a:cubicBezTo>
                <a:cubicBezTo>
                  <a:pt x="11185318" y="555182"/>
                  <a:pt x="11186594" y="555182"/>
                  <a:pt x="11189148" y="555182"/>
                </a:cubicBezTo>
                <a:lnTo>
                  <a:pt x="11195528" y="555182"/>
                </a:lnTo>
                <a:lnTo>
                  <a:pt x="11195528" y="548800"/>
                </a:lnTo>
                <a:lnTo>
                  <a:pt x="11194252" y="548800"/>
                </a:lnTo>
                <a:lnTo>
                  <a:pt x="11190424" y="548800"/>
                </a:lnTo>
                <a:cubicBezTo>
                  <a:pt x="11187870" y="548800"/>
                  <a:pt x="11187870" y="547524"/>
                  <a:pt x="11187870" y="546248"/>
                </a:cubicBezTo>
                <a:lnTo>
                  <a:pt x="11187870" y="525827"/>
                </a:lnTo>
                <a:cubicBezTo>
                  <a:pt x="11187870" y="520722"/>
                  <a:pt x="11186594" y="515617"/>
                  <a:pt x="11182766" y="513065"/>
                </a:cubicBezTo>
                <a:cubicBezTo>
                  <a:pt x="11180212" y="510512"/>
                  <a:pt x="11175108" y="509236"/>
                  <a:pt x="11168726" y="509236"/>
                </a:cubicBezTo>
                <a:close/>
                <a:moveTo>
                  <a:pt x="11117676" y="509236"/>
                </a:moveTo>
                <a:cubicBezTo>
                  <a:pt x="11112570" y="509236"/>
                  <a:pt x="11108740" y="510512"/>
                  <a:pt x="11106188" y="511788"/>
                </a:cubicBezTo>
                <a:cubicBezTo>
                  <a:pt x="11103636" y="514341"/>
                  <a:pt x="11102360" y="515617"/>
                  <a:pt x="11101084" y="518170"/>
                </a:cubicBezTo>
                <a:lnTo>
                  <a:pt x="11099808" y="518170"/>
                </a:lnTo>
                <a:lnTo>
                  <a:pt x="11099808" y="510512"/>
                </a:lnTo>
                <a:lnTo>
                  <a:pt x="11090872" y="510512"/>
                </a:lnTo>
                <a:lnTo>
                  <a:pt x="11090872" y="574326"/>
                </a:lnTo>
                <a:lnTo>
                  <a:pt x="11098532" y="574326"/>
                </a:lnTo>
                <a:lnTo>
                  <a:pt x="11098532" y="547524"/>
                </a:lnTo>
                <a:lnTo>
                  <a:pt x="11099808" y="547524"/>
                </a:lnTo>
                <a:cubicBezTo>
                  <a:pt x="11101084" y="548800"/>
                  <a:pt x="11101084" y="550077"/>
                  <a:pt x="11102360" y="551353"/>
                </a:cubicBezTo>
                <a:cubicBezTo>
                  <a:pt x="11103636" y="552629"/>
                  <a:pt x="11106188" y="553906"/>
                  <a:pt x="11107464" y="553906"/>
                </a:cubicBezTo>
                <a:cubicBezTo>
                  <a:pt x="11110016" y="555182"/>
                  <a:pt x="11112570" y="555182"/>
                  <a:pt x="11115124" y="555182"/>
                </a:cubicBezTo>
                <a:cubicBezTo>
                  <a:pt x="11118952" y="555182"/>
                  <a:pt x="11122780" y="553906"/>
                  <a:pt x="11125332" y="552629"/>
                </a:cubicBezTo>
                <a:cubicBezTo>
                  <a:pt x="11129162" y="551353"/>
                  <a:pt x="11130438" y="548800"/>
                  <a:pt x="11132990" y="544972"/>
                </a:cubicBezTo>
                <a:cubicBezTo>
                  <a:pt x="11135544" y="541143"/>
                  <a:pt x="11135544" y="537314"/>
                  <a:pt x="11135544" y="532209"/>
                </a:cubicBezTo>
                <a:lnTo>
                  <a:pt x="11138096" y="532209"/>
                </a:lnTo>
                <a:cubicBezTo>
                  <a:pt x="11138096" y="527104"/>
                  <a:pt x="11136820" y="523275"/>
                  <a:pt x="11135544" y="519446"/>
                </a:cubicBezTo>
                <a:cubicBezTo>
                  <a:pt x="11132990" y="515617"/>
                  <a:pt x="11131714" y="514341"/>
                  <a:pt x="11127886" y="511788"/>
                </a:cubicBezTo>
                <a:cubicBezTo>
                  <a:pt x="11125332" y="509236"/>
                  <a:pt x="11121504" y="509236"/>
                  <a:pt x="11117676" y="509236"/>
                </a:cubicBezTo>
                <a:close/>
                <a:moveTo>
                  <a:pt x="11009192" y="509236"/>
                </a:moveTo>
                <a:cubicBezTo>
                  <a:pt x="11004086" y="509236"/>
                  <a:pt x="11000258" y="510512"/>
                  <a:pt x="10997704" y="511788"/>
                </a:cubicBezTo>
                <a:cubicBezTo>
                  <a:pt x="10995152" y="514341"/>
                  <a:pt x="10992600" y="516893"/>
                  <a:pt x="10990048" y="520722"/>
                </a:cubicBezTo>
                <a:cubicBezTo>
                  <a:pt x="10987496" y="524551"/>
                  <a:pt x="10987496" y="528380"/>
                  <a:pt x="10987496" y="533485"/>
                </a:cubicBezTo>
                <a:lnTo>
                  <a:pt x="10987496" y="534761"/>
                </a:lnTo>
                <a:cubicBezTo>
                  <a:pt x="10987496" y="538590"/>
                  <a:pt x="10988772" y="543695"/>
                  <a:pt x="10990048" y="546248"/>
                </a:cubicBezTo>
                <a:cubicBezTo>
                  <a:pt x="10991324" y="550077"/>
                  <a:pt x="10993876" y="552629"/>
                  <a:pt x="10997704" y="555182"/>
                </a:cubicBezTo>
                <a:cubicBezTo>
                  <a:pt x="11001534" y="557734"/>
                  <a:pt x="11005362" y="557734"/>
                  <a:pt x="11009192" y="557734"/>
                </a:cubicBezTo>
                <a:cubicBezTo>
                  <a:pt x="11013020" y="557734"/>
                  <a:pt x="11016848" y="556458"/>
                  <a:pt x="11019402" y="555182"/>
                </a:cubicBezTo>
                <a:cubicBezTo>
                  <a:pt x="11021954" y="553906"/>
                  <a:pt x="11024506" y="552629"/>
                  <a:pt x="11025784" y="550077"/>
                </a:cubicBezTo>
                <a:cubicBezTo>
                  <a:pt x="11028336" y="547524"/>
                  <a:pt x="11029612" y="546248"/>
                  <a:pt x="11029612" y="544972"/>
                </a:cubicBezTo>
                <a:lnTo>
                  <a:pt x="11023232" y="542419"/>
                </a:lnTo>
                <a:cubicBezTo>
                  <a:pt x="11021954" y="544972"/>
                  <a:pt x="11020678" y="546248"/>
                  <a:pt x="11018124" y="548800"/>
                </a:cubicBezTo>
                <a:cubicBezTo>
                  <a:pt x="11015572" y="551353"/>
                  <a:pt x="11013020" y="551353"/>
                  <a:pt x="11009192" y="551353"/>
                </a:cubicBezTo>
                <a:cubicBezTo>
                  <a:pt x="11005362" y="551353"/>
                  <a:pt x="11000258" y="550077"/>
                  <a:pt x="10997704" y="547524"/>
                </a:cubicBezTo>
                <a:cubicBezTo>
                  <a:pt x="10995152" y="544972"/>
                  <a:pt x="10992600" y="541143"/>
                  <a:pt x="10992600" y="536038"/>
                </a:cubicBezTo>
                <a:lnTo>
                  <a:pt x="11030888" y="536038"/>
                </a:lnTo>
                <a:lnTo>
                  <a:pt x="11030888" y="530932"/>
                </a:lnTo>
                <a:cubicBezTo>
                  <a:pt x="11030888" y="527104"/>
                  <a:pt x="11029612" y="521999"/>
                  <a:pt x="11028336" y="519446"/>
                </a:cubicBezTo>
                <a:cubicBezTo>
                  <a:pt x="11025784" y="515617"/>
                  <a:pt x="11024506" y="514341"/>
                  <a:pt x="11020678" y="511788"/>
                </a:cubicBezTo>
                <a:cubicBezTo>
                  <a:pt x="11016848" y="509236"/>
                  <a:pt x="11013020" y="509236"/>
                  <a:pt x="11009192" y="509236"/>
                </a:cubicBezTo>
                <a:close/>
                <a:moveTo>
                  <a:pt x="10905812" y="509236"/>
                </a:moveTo>
                <a:lnTo>
                  <a:pt x="10905812" y="555182"/>
                </a:lnTo>
                <a:lnTo>
                  <a:pt x="10913470" y="555182"/>
                </a:lnTo>
                <a:lnTo>
                  <a:pt x="10913470" y="509236"/>
                </a:lnTo>
                <a:close/>
                <a:moveTo>
                  <a:pt x="10813920" y="509236"/>
                </a:moveTo>
                <a:lnTo>
                  <a:pt x="10813920" y="555182"/>
                </a:lnTo>
                <a:lnTo>
                  <a:pt x="10821578" y="555182"/>
                </a:lnTo>
                <a:lnTo>
                  <a:pt x="10821578" y="527104"/>
                </a:lnTo>
                <a:cubicBezTo>
                  <a:pt x="10821578" y="523275"/>
                  <a:pt x="10822854" y="520722"/>
                  <a:pt x="10824130" y="518170"/>
                </a:cubicBezTo>
                <a:cubicBezTo>
                  <a:pt x="10826684" y="515617"/>
                  <a:pt x="10827960" y="515617"/>
                  <a:pt x="10831788" y="515617"/>
                </a:cubicBezTo>
                <a:lnTo>
                  <a:pt x="10836892" y="515617"/>
                </a:lnTo>
                <a:lnTo>
                  <a:pt x="10836892" y="509236"/>
                </a:lnTo>
                <a:lnTo>
                  <a:pt x="10833064" y="509236"/>
                </a:lnTo>
                <a:cubicBezTo>
                  <a:pt x="10830512" y="509236"/>
                  <a:pt x="10827960" y="510512"/>
                  <a:pt x="10826684" y="510512"/>
                </a:cubicBezTo>
                <a:cubicBezTo>
                  <a:pt x="10825408" y="511788"/>
                  <a:pt x="10824130" y="513065"/>
                  <a:pt x="10822854" y="514341"/>
                </a:cubicBezTo>
                <a:lnTo>
                  <a:pt x="10821578" y="514341"/>
                </a:lnTo>
                <a:lnTo>
                  <a:pt x="10821578" y="509236"/>
                </a:lnTo>
                <a:close/>
                <a:moveTo>
                  <a:pt x="10780736" y="509236"/>
                </a:moveTo>
                <a:cubicBezTo>
                  <a:pt x="10775632" y="509236"/>
                  <a:pt x="10771804" y="510512"/>
                  <a:pt x="10769250" y="511788"/>
                </a:cubicBezTo>
                <a:cubicBezTo>
                  <a:pt x="10766698" y="514341"/>
                  <a:pt x="10764146" y="516893"/>
                  <a:pt x="10761592" y="520722"/>
                </a:cubicBezTo>
                <a:cubicBezTo>
                  <a:pt x="10759040" y="524551"/>
                  <a:pt x="10759040" y="528380"/>
                  <a:pt x="10759040" y="533485"/>
                </a:cubicBezTo>
                <a:lnTo>
                  <a:pt x="10759040" y="534761"/>
                </a:lnTo>
                <a:cubicBezTo>
                  <a:pt x="10759040" y="538590"/>
                  <a:pt x="10760316" y="543695"/>
                  <a:pt x="10761592" y="546248"/>
                </a:cubicBezTo>
                <a:cubicBezTo>
                  <a:pt x="10762868" y="550077"/>
                  <a:pt x="10765422" y="552629"/>
                  <a:pt x="10769250" y="555182"/>
                </a:cubicBezTo>
                <a:cubicBezTo>
                  <a:pt x="10773080" y="557734"/>
                  <a:pt x="10776908" y="557734"/>
                  <a:pt x="10780736" y="557734"/>
                </a:cubicBezTo>
                <a:cubicBezTo>
                  <a:pt x="10784566" y="557734"/>
                  <a:pt x="10788396" y="556458"/>
                  <a:pt x="10790948" y="555182"/>
                </a:cubicBezTo>
                <a:cubicBezTo>
                  <a:pt x="10793500" y="553906"/>
                  <a:pt x="10796052" y="552629"/>
                  <a:pt x="10797328" y="550077"/>
                </a:cubicBezTo>
                <a:cubicBezTo>
                  <a:pt x="10799882" y="547524"/>
                  <a:pt x="10801156" y="546248"/>
                  <a:pt x="10801156" y="544972"/>
                </a:cubicBezTo>
                <a:lnTo>
                  <a:pt x="10794776" y="542419"/>
                </a:lnTo>
                <a:cubicBezTo>
                  <a:pt x="10793500" y="544972"/>
                  <a:pt x="10792224" y="546248"/>
                  <a:pt x="10789672" y="548800"/>
                </a:cubicBezTo>
                <a:cubicBezTo>
                  <a:pt x="10787120" y="551353"/>
                  <a:pt x="10784566" y="551353"/>
                  <a:pt x="10780736" y="551353"/>
                </a:cubicBezTo>
                <a:cubicBezTo>
                  <a:pt x="10776908" y="551353"/>
                  <a:pt x="10771804" y="550077"/>
                  <a:pt x="10769250" y="547524"/>
                </a:cubicBezTo>
                <a:cubicBezTo>
                  <a:pt x="10766698" y="544972"/>
                  <a:pt x="10764146" y="541143"/>
                  <a:pt x="10764146" y="536038"/>
                </a:cubicBezTo>
                <a:lnTo>
                  <a:pt x="10802434" y="536038"/>
                </a:lnTo>
                <a:lnTo>
                  <a:pt x="10802434" y="530932"/>
                </a:lnTo>
                <a:cubicBezTo>
                  <a:pt x="10802434" y="527104"/>
                  <a:pt x="10801156" y="521999"/>
                  <a:pt x="10799882" y="519446"/>
                </a:cubicBezTo>
                <a:cubicBezTo>
                  <a:pt x="10797328" y="515617"/>
                  <a:pt x="10796052" y="514341"/>
                  <a:pt x="10792224" y="511788"/>
                </a:cubicBezTo>
                <a:cubicBezTo>
                  <a:pt x="10788396" y="509236"/>
                  <a:pt x="10784566" y="509236"/>
                  <a:pt x="10780736" y="509236"/>
                </a:cubicBezTo>
                <a:close/>
                <a:moveTo>
                  <a:pt x="10593124" y="509236"/>
                </a:moveTo>
                <a:lnTo>
                  <a:pt x="10593124" y="555182"/>
                </a:lnTo>
                <a:lnTo>
                  <a:pt x="10600780" y="555182"/>
                </a:lnTo>
                <a:lnTo>
                  <a:pt x="10600780" y="527104"/>
                </a:lnTo>
                <a:cubicBezTo>
                  <a:pt x="10600780" y="523275"/>
                  <a:pt x="10602058" y="520722"/>
                  <a:pt x="10603334" y="518170"/>
                </a:cubicBezTo>
                <a:cubicBezTo>
                  <a:pt x="10605888" y="515617"/>
                  <a:pt x="10607164" y="515617"/>
                  <a:pt x="10610992" y="515617"/>
                </a:cubicBezTo>
                <a:lnTo>
                  <a:pt x="10616096" y="515617"/>
                </a:lnTo>
                <a:lnTo>
                  <a:pt x="10616096" y="509236"/>
                </a:lnTo>
                <a:lnTo>
                  <a:pt x="10612268" y="509236"/>
                </a:lnTo>
                <a:cubicBezTo>
                  <a:pt x="10609716" y="509236"/>
                  <a:pt x="10607164" y="510512"/>
                  <a:pt x="10605888" y="510512"/>
                </a:cubicBezTo>
                <a:cubicBezTo>
                  <a:pt x="10604612" y="511788"/>
                  <a:pt x="10603334" y="513065"/>
                  <a:pt x="10602058" y="514341"/>
                </a:cubicBezTo>
                <a:lnTo>
                  <a:pt x="10600780" y="514341"/>
                </a:lnTo>
                <a:lnTo>
                  <a:pt x="10600780" y="509236"/>
                </a:lnTo>
                <a:close/>
                <a:moveTo>
                  <a:pt x="10441246" y="509236"/>
                </a:moveTo>
                <a:lnTo>
                  <a:pt x="10441246" y="555182"/>
                </a:lnTo>
                <a:lnTo>
                  <a:pt x="10448904" y="555182"/>
                </a:lnTo>
                <a:lnTo>
                  <a:pt x="10448904" y="527104"/>
                </a:lnTo>
                <a:cubicBezTo>
                  <a:pt x="10448904" y="523275"/>
                  <a:pt x="10450180" y="520722"/>
                  <a:pt x="10451456" y="518170"/>
                </a:cubicBezTo>
                <a:cubicBezTo>
                  <a:pt x="10454008" y="515617"/>
                  <a:pt x="10455286" y="515617"/>
                  <a:pt x="10459116" y="515617"/>
                </a:cubicBezTo>
                <a:lnTo>
                  <a:pt x="10464220" y="515617"/>
                </a:lnTo>
                <a:lnTo>
                  <a:pt x="10464220" y="509236"/>
                </a:lnTo>
                <a:lnTo>
                  <a:pt x="10460392" y="509236"/>
                </a:lnTo>
                <a:cubicBezTo>
                  <a:pt x="10457840" y="509236"/>
                  <a:pt x="10455286" y="510512"/>
                  <a:pt x="10454008" y="510512"/>
                </a:cubicBezTo>
                <a:cubicBezTo>
                  <a:pt x="10452732" y="511788"/>
                  <a:pt x="10451456" y="513065"/>
                  <a:pt x="10450180" y="514341"/>
                </a:cubicBezTo>
                <a:lnTo>
                  <a:pt x="10448904" y="514341"/>
                </a:lnTo>
                <a:lnTo>
                  <a:pt x="10448904" y="509236"/>
                </a:lnTo>
                <a:close/>
                <a:moveTo>
                  <a:pt x="10406788" y="509236"/>
                </a:moveTo>
                <a:cubicBezTo>
                  <a:pt x="10401682" y="509236"/>
                  <a:pt x="10397852" y="510512"/>
                  <a:pt x="10395300" y="511788"/>
                </a:cubicBezTo>
                <a:cubicBezTo>
                  <a:pt x="10392748" y="514341"/>
                  <a:pt x="10390196" y="516893"/>
                  <a:pt x="10387644" y="520722"/>
                </a:cubicBezTo>
                <a:cubicBezTo>
                  <a:pt x="10385092" y="524551"/>
                  <a:pt x="10385092" y="528380"/>
                  <a:pt x="10385092" y="533485"/>
                </a:cubicBezTo>
                <a:lnTo>
                  <a:pt x="10385092" y="534761"/>
                </a:lnTo>
                <a:cubicBezTo>
                  <a:pt x="10385092" y="538590"/>
                  <a:pt x="10386366" y="543695"/>
                  <a:pt x="10387644" y="546248"/>
                </a:cubicBezTo>
                <a:cubicBezTo>
                  <a:pt x="10388920" y="550077"/>
                  <a:pt x="10391472" y="552629"/>
                  <a:pt x="10395300" y="555182"/>
                </a:cubicBezTo>
                <a:cubicBezTo>
                  <a:pt x="10399128" y="557734"/>
                  <a:pt x="10402958" y="557734"/>
                  <a:pt x="10406788" y="557734"/>
                </a:cubicBezTo>
                <a:cubicBezTo>
                  <a:pt x="10410616" y="557734"/>
                  <a:pt x="10414444" y="556458"/>
                  <a:pt x="10416998" y="555182"/>
                </a:cubicBezTo>
                <a:cubicBezTo>
                  <a:pt x="10419550" y="553906"/>
                  <a:pt x="10422102" y="552629"/>
                  <a:pt x="10423380" y="550077"/>
                </a:cubicBezTo>
                <a:cubicBezTo>
                  <a:pt x="10425932" y="547524"/>
                  <a:pt x="10427208" y="546248"/>
                  <a:pt x="10427208" y="544972"/>
                </a:cubicBezTo>
                <a:lnTo>
                  <a:pt x="10420826" y="542419"/>
                </a:lnTo>
                <a:cubicBezTo>
                  <a:pt x="10419550" y="544972"/>
                  <a:pt x="10418272" y="546248"/>
                  <a:pt x="10415720" y="548800"/>
                </a:cubicBezTo>
                <a:cubicBezTo>
                  <a:pt x="10413168" y="551353"/>
                  <a:pt x="10410616" y="551353"/>
                  <a:pt x="10406788" y="551353"/>
                </a:cubicBezTo>
                <a:cubicBezTo>
                  <a:pt x="10402958" y="551353"/>
                  <a:pt x="10397852" y="550077"/>
                  <a:pt x="10395300" y="547524"/>
                </a:cubicBezTo>
                <a:cubicBezTo>
                  <a:pt x="10392748" y="544972"/>
                  <a:pt x="10390196" y="541143"/>
                  <a:pt x="10390196" y="536038"/>
                </a:cubicBezTo>
                <a:lnTo>
                  <a:pt x="10428484" y="536038"/>
                </a:lnTo>
                <a:lnTo>
                  <a:pt x="10428484" y="530932"/>
                </a:lnTo>
                <a:cubicBezTo>
                  <a:pt x="10428484" y="527104"/>
                  <a:pt x="10427208" y="521999"/>
                  <a:pt x="10425932" y="519446"/>
                </a:cubicBezTo>
                <a:cubicBezTo>
                  <a:pt x="10423380" y="515617"/>
                  <a:pt x="10422102" y="514341"/>
                  <a:pt x="10418272" y="511788"/>
                </a:cubicBezTo>
                <a:cubicBezTo>
                  <a:pt x="10414444" y="509236"/>
                  <a:pt x="10410616" y="509236"/>
                  <a:pt x="10406788" y="509236"/>
                </a:cubicBezTo>
                <a:close/>
                <a:moveTo>
                  <a:pt x="10257464" y="509236"/>
                </a:moveTo>
                <a:cubicBezTo>
                  <a:pt x="10252356" y="509236"/>
                  <a:pt x="10248528" y="510512"/>
                  <a:pt x="10245976" y="511788"/>
                </a:cubicBezTo>
                <a:cubicBezTo>
                  <a:pt x="10243424" y="514341"/>
                  <a:pt x="10240872" y="516893"/>
                  <a:pt x="10238318" y="520722"/>
                </a:cubicBezTo>
                <a:cubicBezTo>
                  <a:pt x="10235766" y="524551"/>
                  <a:pt x="10235766" y="528380"/>
                  <a:pt x="10235766" y="533485"/>
                </a:cubicBezTo>
                <a:lnTo>
                  <a:pt x="10235766" y="534761"/>
                </a:lnTo>
                <a:cubicBezTo>
                  <a:pt x="10235766" y="538590"/>
                  <a:pt x="10237042" y="543695"/>
                  <a:pt x="10238318" y="546248"/>
                </a:cubicBezTo>
                <a:cubicBezTo>
                  <a:pt x="10239594" y="550077"/>
                  <a:pt x="10242148" y="552629"/>
                  <a:pt x="10245976" y="555182"/>
                </a:cubicBezTo>
                <a:cubicBezTo>
                  <a:pt x="10249804" y="557734"/>
                  <a:pt x="10253634" y="557734"/>
                  <a:pt x="10257464" y="557734"/>
                </a:cubicBezTo>
                <a:cubicBezTo>
                  <a:pt x="10261292" y="557734"/>
                  <a:pt x="10265120" y="556458"/>
                  <a:pt x="10267672" y="555182"/>
                </a:cubicBezTo>
                <a:cubicBezTo>
                  <a:pt x="10270224" y="553906"/>
                  <a:pt x="10272778" y="552629"/>
                  <a:pt x="10274054" y="550077"/>
                </a:cubicBezTo>
                <a:cubicBezTo>
                  <a:pt x="10276608" y="547524"/>
                  <a:pt x="10277884" y="546248"/>
                  <a:pt x="10277884" y="544972"/>
                </a:cubicBezTo>
                <a:lnTo>
                  <a:pt x="10271500" y="542419"/>
                </a:lnTo>
                <a:cubicBezTo>
                  <a:pt x="10270224" y="544972"/>
                  <a:pt x="10268948" y="546248"/>
                  <a:pt x="10266396" y="548800"/>
                </a:cubicBezTo>
                <a:cubicBezTo>
                  <a:pt x="10263844" y="551353"/>
                  <a:pt x="10261292" y="551353"/>
                  <a:pt x="10257464" y="551353"/>
                </a:cubicBezTo>
                <a:cubicBezTo>
                  <a:pt x="10253634" y="551353"/>
                  <a:pt x="10248528" y="550077"/>
                  <a:pt x="10245976" y="547524"/>
                </a:cubicBezTo>
                <a:cubicBezTo>
                  <a:pt x="10243424" y="544972"/>
                  <a:pt x="10240872" y="541143"/>
                  <a:pt x="10240872" y="536038"/>
                </a:cubicBezTo>
                <a:lnTo>
                  <a:pt x="10279160" y="536038"/>
                </a:lnTo>
                <a:lnTo>
                  <a:pt x="10279160" y="530932"/>
                </a:lnTo>
                <a:cubicBezTo>
                  <a:pt x="10279160" y="527104"/>
                  <a:pt x="10277884" y="521999"/>
                  <a:pt x="10276608" y="519446"/>
                </a:cubicBezTo>
                <a:cubicBezTo>
                  <a:pt x="10274054" y="515617"/>
                  <a:pt x="10272778" y="514341"/>
                  <a:pt x="10268948" y="511788"/>
                </a:cubicBezTo>
                <a:cubicBezTo>
                  <a:pt x="10265120" y="509236"/>
                  <a:pt x="10261292" y="509236"/>
                  <a:pt x="10257464" y="509236"/>
                </a:cubicBezTo>
                <a:close/>
                <a:moveTo>
                  <a:pt x="10090268" y="509236"/>
                </a:moveTo>
                <a:cubicBezTo>
                  <a:pt x="10085164" y="509236"/>
                  <a:pt x="10081336" y="510512"/>
                  <a:pt x="10078784" y="511788"/>
                </a:cubicBezTo>
                <a:cubicBezTo>
                  <a:pt x="10076232" y="514341"/>
                  <a:pt x="10073678" y="516893"/>
                  <a:pt x="10071124" y="520722"/>
                </a:cubicBezTo>
                <a:cubicBezTo>
                  <a:pt x="10068572" y="524551"/>
                  <a:pt x="10068572" y="528380"/>
                  <a:pt x="10068572" y="533485"/>
                </a:cubicBezTo>
                <a:lnTo>
                  <a:pt x="10068572" y="534761"/>
                </a:lnTo>
                <a:cubicBezTo>
                  <a:pt x="10068572" y="538590"/>
                  <a:pt x="10069848" y="543695"/>
                  <a:pt x="10071124" y="546248"/>
                </a:cubicBezTo>
                <a:cubicBezTo>
                  <a:pt x="10072402" y="550077"/>
                  <a:pt x="10074956" y="552629"/>
                  <a:pt x="10078784" y="555182"/>
                </a:cubicBezTo>
                <a:cubicBezTo>
                  <a:pt x="10082612" y="557734"/>
                  <a:pt x="10086440" y="557734"/>
                  <a:pt x="10090268" y="557734"/>
                </a:cubicBezTo>
                <a:cubicBezTo>
                  <a:pt x="10094100" y="557734"/>
                  <a:pt x="10097928" y="556458"/>
                  <a:pt x="10100480" y="555182"/>
                </a:cubicBezTo>
                <a:cubicBezTo>
                  <a:pt x="10103032" y="553906"/>
                  <a:pt x="10105584" y="552629"/>
                  <a:pt x="10106862" y="550077"/>
                </a:cubicBezTo>
                <a:cubicBezTo>
                  <a:pt x="10109414" y="547524"/>
                  <a:pt x="10110690" y="546248"/>
                  <a:pt x="10110690" y="544972"/>
                </a:cubicBezTo>
                <a:lnTo>
                  <a:pt x="10104308" y="542419"/>
                </a:lnTo>
                <a:cubicBezTo>
                  <a:pt x="10103032" y="544972"/>
                  <a:pt x="10101756" y="546248"/>
                  <a:pt x="10099204" y="548800"/>
                </a:cubicBezTo>
                <a:cubicBezTo>
                  <a:pt x="10096652" y="551353"/>
                  <a:pt x="10094100" y="551353"/>
                  <a:pt x="10090268" y="551353"/>
                </a:cubicBezTo>
                <a:cubicBezTo>
                  <a:pt x="10086440" y="551353"/>
                  <a:pt x="10081336" y="550077"/>
                  <a:pt x="10078784" y="547524"/>
                </a:cubicBezTo>
                <a:cubicBezTo>
                  <a:pt x="10076232" y="544972"/>
                  <a:pt x="10073678" y="541143"/>
                  <a:pt x="10073678" y="536038"/>
                </a:cubicBezTo>
                <a:lnTo>
                  <a:pt x="10111966" y="536038"/>
                </a:lnTo>
                <a:lnTo>
                  <a:pt x="10111966" y="530932"/>
                </a:lnTo>
                <a:cubicBezTo>
                  <a:pt x="10111966" y="527104"/>
                  <a:pt x="10110690" y="521999"/>
                  <a:pt x="10109414" y="519446"/>
                </a:cubicBezTo>
                <a:cubicBezTo>
                  <a:pt x="10106862" y="515617"/>
                  <a:pt x="10105584" y="514341"/>
                  <a:pt x="10101756" y="511788"/>
                </a:cubicBezTo>
                <a:cubicBezTo>
                  <a:pt x="10097928" y="509236"/>
                  <a:pt x="10094100" y="509236"/>
                  <a:pt x="10090268" y="509236"/>
                </a:cubicBezTo>
                <a:close/>
                <a:moveTo>
                  <a:pt x="9988168" y="509236"/>
                </a:moveTo>
                <a:lnTo>
                  <a:pt x="9988168" y="555182"/>
                </a:lnTo>
                <a:lnTo>
                  <a:pt x="9995824" y="555182"/>
                </a:lnTo>
                <a:lnTo>
                  <a:pt x="9995824" y="509236"/>
                </a:lnTo>
                <a:close/>
                <a:moveTo>
                  <a:pt x="11848984" y="507959"/>
                </a:moveTo>
                <a:cubicBezTo>
                  <a:pt x="11845154" y="507959"/>
                  <a:pt x="11841326" y="509236"/>
                  <a:pt x="11838772" y="510512"/>
                </a:cubicBezTo>
                <a:cubicBezTo>
                  <a:pt x="11834944" y="511788"/>
                  <a:pt x="11833668" y="514341"/>
                  <a:pt x="11831116" y="518170"/>
                </a:cubicBezTo>
                <a:cubicBezTo>
                  <a:pt x="11828564" y="520722"/>
                  <a:pt x="11828564" y="525827"/>
                  <a:pt x="11828564" y="529656"/>
                </a:cubicBezTo>
                <a:lnTo>
                  <a:pt x="11828564" y="530932"/>
                </a:lnTo>
                <a:cubicBezTo>
                  <a:pt x="11828564" y="536038"/>
                  <a:pt x="11829840" y="539866"/>
                  <a:pt x="11832392" y="544972"/>
                </a:cubicBezTo>
                <a:cubicBezTo>
                  <a:pt x="11834944" y="548800"/>
                  <a:pt x="11836220" y="550077"/>
                  <a:pt x="11840050" y="552629"/>
                </a:cubicBezTo>
                <a:cubicBezTo>
                  <a:pt x="11842602" y="555182"/>
                  <a:pt x="11846432" y="555182"/>
                  <a:pt x="11850260" y="555182"/>
                </a:cubicBezTo>
                <a:cubicBezTo>
                  <a:pt x="11852812" y="555182"/>
                  <a:pt x="11855364" y="553906"/>
                  <a:pt x="11857916" y="553906"/>
                </a:cubicBezTo>
                <a:cubicBezTo>
                  <a:pt x="11860470" y="552629"/>
                  <a:pt x="11861748" y="551353"/>
                  <a:pt x="11863024" y="550077"/>
                </a:cubicBezTo>
                <a:cubicBezTo>
                  <a:pt x="11864300" y="548800"/>
                  <a:pt x="11865576" y="547524"/>
                  <a:pt x="11865576" y="546248"/>
                </a:cubicBezTo>
                <a:lnTo>
                  <a:pt x="11866852" y="546248"/>
                </a:lnTo>
                <a:lnTo>
                  <a:pt x="11866852" y="564116"/>
                </a:lnTo>
                <a:cubicBezTo>
                  <a:pt x="11866852" y="566668"/>
                  <a:pt x="11865576" y="566668"/>
                  <a:pt x="11864300" y="566668"/>
                </a:cubicBezTo>
                <a:lnTo>
                  <a:pt x="11834944" y="566668"/>
                </a:lnTo>
                <a:lnTo>
                  <a:pt x="11834944" y="574326"/>
                </a:lnTo>
                <a:lnTo>
                  <a:pt x="11865576" y="574326"/>
                </a:lnTo>
                <a:cubicBezTo>
                  <a:pt x="11868128" y="574326"/>
                  <a:pt x="11869404" y="573050"/>
                  <a:pt x="11870680" y="571773"/>
                </a:cubicBezTo>
                <a:cubicBezTo>
                  <a:pt x="11871956" y="570497"/>
                  <a:pt x="11873232" y="569221"/>
                  <a:pt x="11873232" y="566668"/>
                </a:cubicBezTo>
                <a:lnTo>
                  <a:pt x="11873232" y="509236"/>
                </a:lnTo>
                <a:lnTo>
                  <a:pt x="11866852" y="509236"/>
                </a:lnTo>
                <a:lnTo>
                  <a:pt x="11866852" y="516893"/>
                </a:lnTo>
                <a:lnTo>
                  <a:pt x="11865576" y="516893"/>
                </a:lnTo>
                <a:cubicBezTo>
                  <a:pt x="11864300" y="514341"/>
                  <a:pt x="11863024" y="513065"/>
                  <a:pt x="11860470" y="510512"/>
                </a:cubicBezTo>
                <a:cubicBezTo>
                  <a:pt x="11857916" y="507959"/>
                  <a:pt x="11854088" y="507959"/>
                  <a:pt x="11848984" y="507959"/>
                </a:cubicBezTo>
                <a:close/>
                <a:moveTo>
                  <a:pt x="11773684" y="507959"/>
                </a:moveTo>
                <a:lnTo>
                  <a:pt x="11773684" y="553906"/>
                </a:lnTo>
                <a:lnTo>
                  <a:pt x="11781340" y="553906"/>
                </a:lnTo>
                <a:lnTo>
                  <a:pt x="11781340" y="530932"/>
                </a:lnTo>
                <a:cubicBezTo>
                  <a:pt x="11781340" y="525827"/>
                  <a:pt x="11782616" y="520722"/>
                  <a:pt x="11785170" y="518170"/>
                </a:cubicBezTo>
                <a:cubicBezTo>
                  <a:pt x="11787722" y="515617"/>
                  <a:pt x="11791552" y="514341"/>
                  <a:pt x="11795380" y="514341"/>
                </a:cubicBezTo>
                <a:cubicBezTo>
                  <a:pt x="11799208" y="514341"/>
                  <a:pt x="11803036" y="515617"/>
                  <a:pt x="11804314" y="516893"/>
                </a:cubicBezTo>
                <a:cubicBezTo>
                  <a:pt x="11806866" y="519446"/>
                  <a:pt x="11808144" y="521999"/>
                  <a:pt x="11808144" y="527104"/>
                </a:cubicBezTo>
                <a:lnTo>
                  <a:pt x="11808144" y="553906"/>
                </a:lnTo>
                <a:lnTo>
                  <a:pt x="11815800" y="553906"/>
                </a:lnTo>
                <a:lnTo>
                  <a:pt x="11815800" y="527104"/>
                </a:lnTo>
                <a:cubicBezTo>
                  <a:pt x="11815800" y="523275"/>
                  <a:pt x="11814524" y="519446"/>
                  <a:pt x="11813248" y="516893"/>
                </a:cubicBezTo>
                <a:cubicBezTo>
                  <a:pt x="11811972" y="514341"/>
                  <a:pt x="11809420" y="511788"/>
                  <a:pt x="11806866" y="510512"/>
                </a:cubicBezTo>
                <a:cubicBezTo>
                  <a:pt x="11804314" y="509236"/>
                  <a:pt x="11801760" y="507959"/>
                  <a:pt x="11797932" y="507959"/>
                </a:cubicBezTo>
                <a:cubicBezTo>
                  <a:pt x="11792828" y="507959"/>
                  <a:pt x="11789000" y="509236"/>
                  <a:pt x="11787722" y="510512"/>
                </a:cubicBezTo>
                <a:cubicBezTo>
                  <a:pt x="11785170" y="511788"/>
                  <a:pt x="11783892" y="514341"/>
                  <a:pt x="11782616" y="515617"/>
                </a:cubicBezTo>
                <a:lnTo>
                  <a:pt x="11781340" y="515617"/>
                </a:lnTo>
                <a:lnTo>
                  <a:pt x="11781340" y="507959"/>
                </a:lnTo>
                <a:close/>
                <a:moveTo>
                  <a:pt x="11694552" y="507959"/>
                </a:moveTo>
                <a:lnTo>
                  <a:pt x="11694552" y="553906"/>
                </a:lnTo>
                <a:lnTo>
                  <a:pt x="11702212" y="553906"/>
                </a:lnTo>
                <a:lnTo>
                  <a:pt x="11702212" y="530932"/>
                </a:lnTo>
                <a:cubicBezTo>
                  <a:pt x="11702212" y="525827"/>
                  <a:pt x="11703488" y="520722"/>
                  <a:pt x="11706040" y="518170"/>
                </a:cubicBezTo>
                <a:cubicBezTo>
                  <a:pt x="11708592" y="515617"/>
                  <a:pt x="11712422" y="514341"/>
                  <a:pt x="11716250" y="514341"/>
                </a:cubicBezTo>
                <a:cubicBezTo>
                  <a:pt x="11720080" y="514341"/>
                  <a:pt x="11723908" y="515617"/>
                  <a:pt x="11725184" y="516893"/>
                </a:cubicBezTo>
                <a:cubicBezTo>
                  <a:pt x="11727736" y="519446"/>
                  <a:pt x="11729012" y="521999"/>
                  <a:pt x="11729012" y="527104"/>
                </a:cubicBezTo>
                <a:lnTo>
                  <a:pt x="11729012" y="553906"/>
                </a:lnTo>
                <a:lnTo>
                  <a:pt x="11736672" y="553906"/>
                </a:lnTo>
                <a:lnTo>
                  <a:pt x="11736672" y="527104"/>
                </a:lnTo>
                <a:cubicBezTo>
                  <a:pt x="11736672" y="523275"/>
                  <a:pt x="11735396" y="519446"/>
                  <a:pt x="11734120" y="516893"/>
                </a:cubicBezTo>
                <a:cubicBezTo>
                  <a:pt x="11732842" y="514341"/>
                  <a:pt x="11730288" y="511788"/>
                  <a:pt x="11727736" y="510512"/>
                </a:cubicBezTo>
                <a:cubicBezTo>
                  <a:pt x="11725184" y="509236"/>
                  <a:pt x="11722632" y="507959"/>
                  <a:pt x="11718804" y="507959"/>
                </a:cubicBezTo>
                <a:cubicBezTo>
                  <a:pt x="11713698" y="507959"/>
                  <a:pt x="11709868" y="509236"/>
                  <a:pt x="11708592" y="510512"/>
                </a:cubicBezTo>
                <a:cubicBezTo>
                  <a:pt x="11706040" y="511788"/>
                  <a:pt x="11704764" y="514341"/>
                  <a:pt x="11703488" y="515617"/>
                </a:cubicBezTo>
                <a:lnTo>
                  <a:pt x="11702212" y="515617"/>
                </a:lnTo>
                <a:lnTo>
                  <a:pt x="11702212" y="507959"/>
                </a:lnTo>
                <a:close/>
                <a:moveTo>
                  <a:pt x="11654988" y="507959"/>
                </a:moveTo>
                <a:cubicBezTo>
                  <a:pt x="11651160" y="507959"/>
                  <a:pt x="11647332" y="509236"/>
                  <a:pt x="11644780" y="510512"/>
                </a:cubicBezTo>
                <a:cubicBezTo>
                  <a:pt x="11640950" y="511788"/>
                  <a:pt x="11639674" y="514341"/>
                  <a:pt x="11637120" y="518170"/>
                </a:cubicBezTo>
                <a:cubicBezTo>
                  <a:pt x="11634568" y="520722"/>
                  <a:pt x="11634568" y="525827"/>
                  <a:pt x="11634568" y="529656"/>
                </a:cubicBezTo>
                <a:lnTo>
                  <a:pt x="11634568" y="530932"/>
                </a:lnTo>
                <a:cubicBezTo>
                  <a:pt x="11634568" y="536038"/>
                  <a:pt x="11635844" y="539866"/>
                  <a:pt x="11638398" y="544972"/>
                </a:cubicBezTo>
                <a:cubicBezTo>
                  <a:pt x="11640950" y="548800"/>
                  <a:pt x="11642226" y="550077"/>
                  <a:pt x="11646056" y="552629"/>
                </a:cubicBezTo>
                <a:cubicBezTo>
                  <a:pt x="11648608" y="555182"/>
                  <a:pt x="11652436" y="555182"/>
                  <a:pt x="11656264" y="555182"/>
                </a:cubicBezTo>
                <a:cubicBezTo>
                  <a:pt x="11658818" y="555182"/>
                  <a:pt x="11661372" y="553906"/>
                  <a:pt x="11663924" y="553906"/>
                </a:cubicBezTo>
                <a:cubicBezTo>
                  <a:pt x="11666476" y="552629"/>
                  <a:pt x="11667752" y="551353"/>
                  <a:pt x="11669028" y="550077"/>
                </a:cubicBezTo>
                <a:cubicBezTo>
                  <a:pt x="11670304" y="548800"/>
                  <a:pt x="11671580" y="547524"/>
                  <a:pt x="11671580" y="546248"/>
                </a:cubicBezTo>
                <a:lnTo>
                  <a:pt x="11672856" y="546248"/>
                </a:lnTo>
                <a:lnTo>
                  <a:pt x="11672856" y="564116"/>
                </a:lnTo>
                <a:cubicBezTo>
                  <a:pt x="11672856" y="566668"/>
                  <a:pt x="11671580" y="566668"/>
                  <a:pt x="11670304" y="566668"/>
                </a:cubicBezTo>
                <a:lnTo>
                  <a:pt x="11640950" y="566668"/>
                </a:lnTo>
                <a:lnTo>
                  <a:pt x="11640950" y="574326"/>
                </a:lnTo>
                <a:lnTo>
                  <a:pt x="11671580" y="574326"/>
                </a:lnTo>
                <a:cubicBezTo>
                  <a:pt x="11674132" y="574326"/>
                  <a:pt x="11675408" y="573050"/>
                  <a:pt x="11676686" y="571773"/>
                </a:cubicBezTo>
                <a:cubicBezTo>
                  <a:pt x="11677962" y="570497"/>
                  <a:pt x="11679238" y="569221"/>
                  <a:pt x="11679238" y="566668"/>
                </a:cubicBezTo>
                <a:lnTo>
                  <a:pt x="11679238" y="509236"/>
                </a:lnTo>
                <a:lnTo>
                  <a:pt x="11672856" y="509236"/>
                </a:lnTo>
                <a:lnTo>
                  <a:pt x="11672856" y="516893"/>
                </a:lnTo>
                <a:lnTo>
                  <a:pt x="11671580" y="516893"/>
                </a:lnTo>
                <a:cubicBezTo>
                  <a:pt x="11670304" y="514341"/>
                  <a:pt x="11669028" y="513065"/>
                  <a:pt x="11666476" y="510512"/>
                </a:cubicBezTo>
                <a:cubicBezTo>
                  <a:pt x="11663924" y="507959"/>
                  <a:pt x="11660094" y="507959"/>
                  <a:pt x="11654988" y="507959"/>
                </a:cubicBezTo>
                <a:close/>
                <a:moveTo>
                  <a:pt x="10866248" y="507959"/>
                </a:moveTo>
                <a:cubicBezTo>
                  <a:pt x="10862420" y="507959"/>
                  <a:pt x="10858590" y="509236"/>
                  <a:pt x="10856036" y="510512"/>
                </a:cubicBezTo>
                <a:cubicBezTo>
                  <a:pt x="10852208" y="511788"/>
                  <a:pt x="10850932" y="514341"/>
                  <a:pt x="10848380" y="518170"/>
                </a:cubicBezTo>
                <a:cubicBezTo>
                  <a:pt x="10845828" y="520722"/>
                  <a:pt x="10845828" y="525827"/>
                  <a:pt x="10845828" y="529656"/>
                </a:cubicBezTo>
                <a:lnTo>
                  <a:pt x="10845828" y="530932"/>
                </a:lnTo>
                <a:cubicBezTo>
                  <a:pt x="10845828" y="536038"/>
                  <a:pt x="10847104" y="539866"/>
                  <a:pt x="10849656" y="544972"/>
                </a:cubicBezTo>
                <a:cubicBezTo>
                  <a:pt x="10852208" y="548800"/>
                  <a:pt x="10853484" y="550077"/>
                  <a:pt x="10857314" y="552629"/>
                </a:cubicBezTo>
                <a:cubicBezTo>
                  <a:pt x="10859868" y="555182"/>
                  <a:pt x="10863696" y="555182"/>
                  <a:pt x="10867524" y="555182"/>
                </a:cubicBezTo>
                <a:cubicBezTo>
                  <a:pt x="10870076" y="555182"/>
                  <a:pt x="10872630" y="553906"/>
                  <a:pt x="10875182" y="553906"/>
                </a:cubicBezTo>
                <a:cubicBezTo>
                  <a:pt x="10877734" y="552629"/>
                  <a:pt x="10879012" y="551353"/>
                  <a:pt x="10880288" y="550077"/>
                </a:cubicBezTo>
                <a:cubicBezTo>
                  <a:pt x="10881564" y="548800"/>
                  <a:pt x="10882840" y="547524"/>
                  <a:pt x="10882840" y="546248"/>
                </a:cubicBezTo>
                <a:lnTo>
                  <a:pt x="10884116" y="546248"/>
                </a:lnTo>
                <a:lnTo>
                  <a:pt x="10884116" y="564116"/>
                </a:lnTo>
                <a:cubicBezTo>
                  <a:pt x="10884116" y="566668"/>
                  <a:pt x="10882840" y="566668"/>
                  <a:pt x="10881564" y="566668"/>
                </a:cubicBezTo>
                <a:lnTo>
                  <a:pt x="10852208" y="566668"/>
                </a:lnTo>
                <a:lnTo>
                  <a:pt x="10852208" y="574326"/>
                </a:lnTo>
                <a:lnTo>
                  <a:pt x="10882840" y="574326"/>
                </a:lnTo>
                <a:cubicBezTo>
                  <a:pt x="10885392" y="574326"/>
                  <a:pt x="10886668" y="573050"/>
                  <a:pt x="10887944" y="571773"/>
                </a:cubicBezTo>
                <a:cubicBezTo>
                  <a:pt x="10889220" y="570497"/>
                  <a:pt x="10890496" y="569221"/>
                  <a:pt x="10890496" y="566668"/>
                </a:cubicBezTo>
                <a:lnTo>
                  <a:pt x="10890496" y="509236"/>
                </a:lnTo>
                <a:lnTo>
                  <a:pt x="10884116" y="509236"/>
                </a:lnTo>
                <a:lnTo>
                  <a:pt x="10884116" y="516893"/>
                </a:lnTo>
                <a:lnTo>
                  <a:pt x="10882840" y="516893"/>
                </a:lnTo>
                <a:cubicBezTo>
                  <a:pt x="10881564" y="514341"/>
                  <a:pt x="10880288" y="513065"/>
                  <a:pt x="10877734" y="510512"/>
                </a:cubicBezTo>
                <a:cubicBezTo>
                  <a:pt x="10875182" y="507959"/>
                  <a:pt x="10871352" y="507959"/>
                  <a:pt x="10866248" y="507959"/>
                </a:cubicBezTo>
                <a:close/>
                <a:moveTo>
                  <a:pt x="10702884" y="507959"/>
                </a:moveTo>
                <a:lnTo>
                  <a:pt x="10702884" y="553906"/>
                </a:lnTo>
                <a:lnTo>
                  <a:pt x="10710542" y="553906"/>
                </a:lnTo>
                <a:lnTo>
                  <a:pt x="10710542" y="530932"/>
                </a:lnTo>
                <a:cubicBezTo>
                  <a:pt x="10710542" y="525827"/>
                  <a:pt x="10711818" y="520722"/>
                  <a:pt x="10714372" y="518170"/>
                </a:cubicBezTo>
                <a:cubicBezTo>
                  <a:pt x="10716924" y="515617"/>
                  <a:pt x="10720752" y="514341"/>
                  <a:pt x="10724580" y="514341"/>
                </a:cubicBezTo>
                <a:cubicBezTo>
                  <a:pt x="10728408" y="514341"/>
                  <a:pt x="10732240" y="515617"/>
                  <a:pt x="10733516" y="516893"/>
                </a:cubicBezTo>
                <a:cubicBezTo>
                  <a:pt x="10736068" y="519446"/>
                  <a:pt x="10737344" y="521999"/>
                  <a:pt x="10737344" y="527104"/>
                </a:cubicBezTo>
                <a:lnTo>
                  <a:pt x="10737344" y="553906"/>
                </a:lnTo>
                <a:lnTo>
                  <a:pt x="10745002" y="553906"/>
                </a:lnTo>
                <a:lnTo>
                  <a:pt x="10745002" y="527104"/>
                </a:lnTo>
                <a:cubicBezTo>
                  <a:pt x="10745002" y="523275"/>
                  <a:pt x="10743724" y="519446"/>
                  <a:pt x="10742448" y="516893"/>
                </a:cubicBezTo>
                <a:cubicBezTo>
                  <a:pt x="10741172" y="514341"/>
                  <a:pt x="10738620" y="511788"/>
                  <a:pt x="10736068" y="510512"/>
                </a:cubicBezTo>
                <a:cubicBezTo>
                  <a:pt x="10733516" y="509236"/>
                  <a:pt x="10730962" y="507959"/>
                  <a:pt x="10727132" y="507959"/>
                </a:cubicBezTo>
                <a:cubicBezTo>
                  <a:pt x="10722028" y="507959"/>
                  <a:pt x="10718200" y="509236"/>
                  <a:pt x="10716924" y="510512"/>
                </a:cubicBezTo>
                <a:cubicBezTo>
                  <a:pt x="10714372" y="511788"/>
                  <a:pt x="10713096" y="514341"/>
                  <a:pt x="10711818" y="515617"/>
                </a:cubicBezTo>
                <a:lnTo>
                  <a:pt x="10710542" y="515617"/>
                </a:lnTo>
                <a:lnTo>
                  <a:pt x="10710542" y="507959"/>
                </a:lnTo>
                <a:close/>
                <a:moveTo>
                  <a:pt x="10557388" y="507959"/>
                </a:moveTo>
                <a:cubicBezTo>
                  <a:pt x="10553560" y="507959"/>
                  <a:pt x="10548454" y="509236"/>
                  <a:pt x="10545900" y="510512"/>
                </a:cubicBezTo>
                <a:cubicBezTo>
                  <a:pt x="10542072" y="513065"/>
                  <a:pt x="10539520" y="515617"/>
                  <a:pt x="10536968" y="519446"/>
                </a:cubicBezTo>
                <a:cubicBezTo>
                  <a:pt x="10534416" y="523275"/>
                  <a:pt x="10534416" y="527104"/>
                  <a:pt x="10534416" y="532209"/>
                </a:cubicBezTo>
                <a:lnTo>
                  <a:pt x="10534416" y="533485"/>
                </a:lnTo>
                <a:cubicBezTo>
                  <a:pt x="10534416" y="538590"/>
                  <a:pt x="10535692" y="542419"/>
                  <a:pt x="10536968" y="546248"/>
                </a:cubicBezTo>
                <a:cubicBezTo>
                  <a:pt x="10539520" y="548800"/>
                  <a:pt x="10542072" y="551353"/>
                  <a:pt x="10545900" y="553906"/>
                </a:cubicBezTo>
                <a:cubicBezTo>
                  <a:pt x="10549730" y="556458"/>
                  <a:pt x="10553560" y="556458"/>
                  <a:pt x="10557388" y="556458"/>
                </a:cubicBezTo>
                <a:cubicBezTo>
                  <a:pt x="10561216" y="556458"/>
                  <a:pt x="10566322" y="555182"/>
                  <a:pt x="10568874" y="553906"/>
                </a:cubicBezTo>
                <a:cubicBezTo>
                  <a:pt x="10572704" y="552629"/>
                  <a:pt x="10575256" y="550077"/>
                  <a:pt x="10577808" y="546248"/>
                </a:cubicBezTo>
                <a:cubicBezTo>
                  <a:pt x="10580360" y="542419"/>
                  <a:pt x="10580360" y="538590"/>
                  <a:pt x="10580360" y="533485"/>
                </a:cubicBezTo>
                <a:lnTo>
                  <a:pt x="10580360" y="532209"/>
                </a:lnTo>
                <a:cubicBezTo>
                  <a:pt x="10580360" y="527104"/>
                  <a:pt x="10579084" y="523275"/>
                  <a:pt x="10577808" y="519446"/>
                </a:cubicBezTo>
                <a:cubicBezTo>
                  <a:pt x="10575256" y="515617"/>
                  <a:pt x="10572704" y="513065"/>
                  <a:pt x="10568874" y="510512"/>
                </a:cubicBezTo>
                <a:cubicBezTo>
                  <a:pt x="10565046" y="507959"/>
                  <a:pt x="10561216" y="507959"/>
                  <a:pt x="10557388" y="507959"/>
                </a:cubicBezTo>
                <a:close/>
                <a:moveTo>
                  <a:pt x="10289370" y="507959"/>
                </a:moveTo>
                <a:lnTo>
                  <a:pt x="10289370" y="553906"/>
                </a:lnTo>
                <a:lnTo>
                  <a:pt x="10297028" y="553906"/>
                </a:lnTo>
                <a:lnTo>
                  <a:pt x="10297028" y="530932"/>
                </a:lnTo>
                <a:cubicBezTo>
                  <a:pt x="10297028" y="525827"/>
                  <a:pt x="10298304" y="520722"/>
                  <a:pt x="10300856" y="518170"/>
                </a:cubicBezTo>
                <a:cubicBezTo>
                  <a:pt x="10303408" y="515617"/>
                  <a:pt x="10307236" y="514341"/>
                  <a:pt x="10311066" y="514341"/>
                </a:cubicBezTo>
                <a:cubicBezTo>
                  <a:pt x="10314896" y="514341"/>
                  <a:pt x="10318724" y="515617"/>
                  <a:pt x="10320000" y="516893"/>
                </a:cubicBezTo>
                <a:cubicBezTo>
                  <a:pt x="10322552" y="519446"/>
                  <a:pt x="10323828" y="521999"/>
                  <a:pt x="10323828" y="527104"/>
                </a:cubicBezTo>
                <a:lnTo>
                  <a:pt x="10323828" y="553906"/>
                </a:lnTo>
                <a:lnTo>
                  <a:pt x="10331488" y="553906"/>
                </a:lnTo>
                <a:lnTo>
                  <a:pt x="10331488" y="527104"/>
                </a:lnTo>
                <a:cubicBezTo>
                  <a:pt x="10331488" y="523275"/>
                  <a:pt x="10330212" y="519446"/>
                  <a:pt x="10328934" y="516893"/>
                </a:cubicBezTo>
                <a:cubicBezTo>
                  <a:pt x="10327658" y="514341"/>
                  <a:pt x="10325104" y="511788"/>
                  <a:pt x="10322552" y="510512"/>
                </a:cubicBezTo>
                <a:cubicBezTo>
                  <a:pt x="10320000" y="509236"/>
                  <a:pt x="10317448" y="507959"/>
                  <a:pt x="10313618" y="507959"/>
                </a:cubicBezTo>
                <a:cubicBezTo>
                  <a:pt x="10308514" y="507959"/>
                  <a:pt x="10304684" y="509236"/>
                  <a:pt x="10303408" y="510512"/>
                </a:cubicBezTo>
                <a:cubicBezTo>
                  <a:pt x="10300856" y="511788"/>
                  <a:pt x="10299580" y="514341"/>
                  <a:pt x="10298304" y="515617"/>
                </a:cubicBezTo>
                <a:lnTo>
                  <a:pt x="10297028" y="515617"/>
                </a:lnTo>
                <a:lnTo>
                  <a:pt x="10297028" y="507959"/>
                </a:lnTo>
                <a:close/>
                <a:moveTo>
                  <a:pt x="10123452" y="507959"/>
                </a:moveTo>
                <a:lnTo>
                  <a:pt x="10123452" y="553906"/>
                </a:lnTo>
                <a:lnTo>
                  <a:pt x="10131110" y="553906"/>
                </a:lnTo>
                <a:lnTo>
                  <a:pt x="10131110" y="530932"/>
                </a:lnTo>
                <a:cubicBezTo>
                  <a:pt x="10131110" y="525827"/>
                  <a:pt x="10132388" y="520722"/>
                  <a:pt x="10134940" y="518170"/>
                </a:cubicBezTo>
                <a:cubicBezTo>
                  <a:pt x="10137492" y="515617"/>
                  <a:pt x="10141320" y="514341"/>
                  <a:pt x="10145150" y="514341"/>
                </a:cubicBezTo>
                <a:cubicBezTo>
                  <a:pt x="10148980" y="514341"/>
                  <a:pt x="10152808" y="515617"/>
                  <a:pt x="10154084" y="516893"/>
                </a:cubicBezTo>
                <a:cubicBezTo>
                  <a:pt x="10156636" y="519446"/>
                  <a:pt x="10157912" y="521999"/>
                  <a:pt x="10157912" y="527104"/>
                </a:cubicBezTo>
                <a:lnTo>
                  <a:pt x="10157912" y="553906"/>
                </a:lnTo>
                <a:lnTo>
                  <a:pt x="10165570" y="553906"/>
                </a:lnTo>
                <a:lnTo>
                  <a:pt x="10165570" y="527104"/>
                </a:lnTo>
                <a:cubicBezTo>
                  <a:pt x="10165570" y="523275"/>
                  <a:pt x="10164294" y="519446"/>
                  <a:pt x="10163016" y="516893"/>
                </a:cubicBezTo>
                <a:cubicBezTo>
                  <a:pt x="10161742" y="514341"/>
                  <a:pt x="10159188" y="511788"/>
                  <a:pt x="10156636" y="510512"/>
                </a:cubicBezTo>
                <a:cubicBezTo>
                  <a:pt x="10154084" y="509236"/>
                  <a:pt x="10151532" y="507959"/>
                  <a:pt x="10147702" y="507959"/>
                </a:cubicBezTo>
                <a:cubicBezTo>
                  <a:pt x="10142596" y="507959"/>
                  <a:pt x="10138768" y="509236"/>
                  <a:pt x="10137492" y="510512"/>
                </a:cubicBezTo>
                <a:cubicBezTo>
                  <a:pt x="10134940" y="511788"/>
                  <a:pt x="10133664" y="514341"/>
                  <a:pt x="10132388" y="515617"/>
                </a:cubicBezTo>
                <a:lnTo>
                  <a:pt x="10131110" y="515617"/>
                </a:lnTo>
                <a:lnTo>
                  <a:pt x="10131110" y="507959"/>
                </a:lnTo>
                <a:close/>
                <a:moveTo>
                  <a:pt x="10201306" y="506683"/>
                </a:moveTo>
                <a:cubicBezTo>
                  <a:pt x="10197476" y="506683"/>
                  <a:pt x="10192372" y="507959"/>
                  <a:pt x="10189820" y="509236"/>
                </a:cubicBezTo>
                <a:cubicBezTo>
                  <a:pt x="10185990" y="510512"/>
                  <a:pt x="10183438" y="513065"/>
                  <a:pt x="10180886" y="516893"/>
                </a:cubicBezTo>
                <a:cubicBezTo>
                  <a:pt x="10178332" y="520722"/>
                  <a:pt x="10178332" y="524551"/>
                  <a:pt x="10178332" y="529656"/>
                </a:cubicBezTo>
                <a:lnTo>
                  <a:pt x="10178332" y="530932"/>
                </a:lnTo>
                <a:cubicBezTo>
                  <a:pt x="10178332" y="536038"/>
                  <a:pt x="10179608" y="539866"/>
                  <a:pt x="10180886" y="543695"/>
                </a:cubicBezTo>
                <a:cubicBezTo>
                  <a:pt x="10183438" y="547524"/>
                  <a:pt x="10185990" y="550077"/>
                  <a:pt x="10189820" y="552629"/>
                </a:cubicBezTo>
                <a:cubicBezTo>
                  <a:pt x="10193648" y="555182"/>
                  <a:pt x="10197476" y="555182"/>
                  <a:pt x="10201306" y="555182"/>
                </a:cubicBezTo>
                <a:cubicBezTo>
                  <a:pt x="10206412" y="555182"/>
                  <a:pt x="10210240" y="553906"/>
                  <a:pt x="10212792" y="552629"/>
                </a:cubicBezTo>
                <a:cubicBezTo>
                  <a:pt x="10215344" y="551353"/>
                  <a:pt x="10217896" y="548800"/>
                  <a:pt x="10220450" y="546248"/>
                </a:cubicBezTo>
                <a:cubicBezTo>
                  <a:pt x="10221728" y="543695"/>
                  <a:pt x="10223004" y="541143"/>
                  <a:pt x="10224280" y="537314"/>
                </a:cubicBezTo>
                <a:lnTo>
                  <a:pt x="10216620" y="536038"/>
                </a:lnTo>
                <a:cubicBezTo>
                  <a:pt x="10216620" y="539866"/>
                  <a:pt x="10214068" y="542419"/>
                  <a:pt x="10212792" y="544972"/>
                </a:cubicBezTo>
                <a:cubicBezTo>
                  <a:pt x="10210240" y="547524"/>
                  <a:pt x="10206412" y="548800"/>
                  <a:pt x="10202584" y="548800"/>
                </a:cubicBezTo>
                <a:cubicBezTo>
                  <a:pt x="10198752" y="548800"/>
                  <a:pt x="10196200" y="547524"/>
                  <a:pt x="10193648" y="546248"/>
                </a:cubicBezTo>
                <a:cubicBezTo>
                  <a:pt x="10191096" y="544972"/>
                  <a:pt x="10189820" y="543695"/>
                  <a:pt x="10188544" y="541143"/>
                </a:cubicBezTo>
                <a:cubicBezTo>
                  <a:pt x="10185990" y="538590"/>
                  <a:pt x="10184714" y="536038"/>
                  <a:pt x="10184714" y="532209"/>
                </a:cubicBezTo>
                <a:cubicBezTo>
                  <a:pt x="10184714" y="528380"/>
                  <a:pt x="10185990" y="524551"/>
                  <a:pt x="10187268" y="521999"/>
                </a:cubicBezTo>
                <a:cubicBezTo>
                  <a:pt x="10188544" y="519446"/>
                  <a:pt x="10191096" y="518170"/>
                  <a:pt x="10192372" y="516893"/>
                </a:cubicBezTo>
                <a:cubicBezTo>
                  <a:pt x="10194924" y="515617"/>
                  <a:pt x="10197476" y="514341"/>
                  <a:pt x="10201306" y="514341"/>
                </a:cubicBezTo>
                <a:cubicBezTo>
                  <a:pt x="10205136" y="514341"/>
                  <a:pt x="10206412" y="515617"/>
                  <a:pt x="10208964" y="515617"/>
                </a:cubicBezTo>
                <a:cubicBezTo>
                  <a:pt x="10211516" y="516893"/>
                  <a:pt x="10212792" y="518170"/>
                  <a:pt x="10214068" y="519446"/>
                </a:cubicBezTo>
                <a:cubicBezTo>
                  <a:pt x="10215344" y="521999"/>
                  <a:pt x="10216620" y="523275"/>
                  <a:pt x="10216620" y="525827"/>
                </a:cubicBezTo>
                <a:lnTo>
                  <a:pt x="10224280" y="524551"/>
                </a:lnTo>
                <a:cubicBezTo>
                  <a:pt x="10223004" y="521999"/>
                  <a:pt x="10223004" y="519446"/>
                  <a:pt x="10220450" y="515617"/>
                </a:cubicBezTo>
                <a:cubicBezTo>
                  <a:pt x="10219174" y="513065"/>
                  <a:pt x="10216620" y="510512"/>
                  <a:pt x="10212792" y="509236"/>
                </a:cubicBezTo>
                <a:cubicBezTo>
                  <a:pt x="10208964" y="507959"/>
                  <a:pt x="10205136" y="506683"/>
                  <a:pt x="10201306" y="506683"/>
                </a:cubicBezTo>
                <a:close/>
                <a:moveTo>
                  <a:pt x="11328260" y="504131"/>
                </a:moveTo>
                <a:cubicBezTo>
                  <a:pt x="11323156" y="504131"/>
                  <a:pt x="11318052" y="505407"/>
                  <a:pt x="11315498" y="507959"/>
                </a:cubicBezTo>
                <a:cubicBezTo>
                  <a:pt x="11311668" y="510512"/>
                  <a:pt x="11310394" y="513065"/>
                  <a:pt x="11310394" y="518170"/>
                </a:cubicBezTo>
                <a:cubicBezTo>
                  <a:pt x="11310394" y="520722"/>
                  <a:pt x="11311668" y="523275"/>
                  <a:pt x="11312946" y="525827"/>
                </a:cubicBezTo>
                <a:cubicBezTo>
                  <a:pt x="11314222" y="527104"/>
                  <a:pt x="11316776" y="529656"/>
                  <a:pt x="11318052" y="529656"/>
                </a:cubicBezTo>
                <a:cubicBezTo>
                  <a:pt x="11320604" y="530932"/>
                  <a:pt x="11323156" y="530932"/>
                  <a:pt x="11325708" y="532209"/>
                </a:cubicBezTo>
                <a:lnTo>
                  <a:pt x="11329538" y="533485"/>
                </a:lnTo>
                <a:cubicBezTo>
                  <a:pt x="11333366" y="533485"/>
                  <a:pt x="11334642" y="534761"/>
                  <a:pt x="11337196" y="536038"/>
                </a:cubicBezTo>
                <a:cubicBezTo>
                  <a:pt x="11339748" y="537314"/>
                  <a:pt x="11339748" y="538590"/>
                  <a:pt x="11339748" y="541143"/>
                </a:cubicBezTo>
                <a:cubicBezTo>
                  <a:pt x="11339748" y="543695"/>
                  <a:pt x="11338472" y="544972"/>
                  <a:pt x="11337196" y="546248"/>
                </a:cubicBezTo>
                <a:cubicBezTo>
                  <a:pt x="11335920" y="547524"/>
                  <a:pt x="11333366" y="548800"/>
                  <a:pt x="11329538" y="548800"/>
                </a:cubicBezTo>
                <a:cubicBezTo>
                  <a:pt x="11326984" y="548800"/>
                  <a:pt x="11325708" y="548800"/>
                  <a:pt x="11323156" y="547524"/>
                </a:cubicBezTo>
                <a:cubicBezTo>
                  <a:pt x="11320604" y="546248"/>
                  <a:pt x="11319328" y="544972"/>
                  <a:pt x="11318052" y="543695"/>
                </a:cubicBezTo>
                <a:cubicBezTo>
                  <a:pt x="11316776" y="542419"/>
                  <a:pt x="11315498" y="539866"/>
                  <a:pt x="11315498" y="536038"/>
                </a:cubicBezTo>
                <a:lnTo>
                  <a:pt x="11307840" y="537314"/>
                </a:lnTo>
                <a:cubicBezTo>
                  <a:pt x="11309116" y="542419"/>
                  <a:pt x="11311668" y="547524"/>
                  <a:pt x="11315498" y="550077"/>
                </a:cubicBezTo>
                <a:cubicBezTo>
                  <a:pt x="11319328" y="552629"/>
                  <a:pt x="11324432" y="553906"/>
                  <a:pt x="11329538" y="553906"/>
                </a:cubicBezTo>
                <a:cubicBezTo>
                  <a:pt x="11334642" y="553906"/>
                  <a:pt x="11339748" y="552629"/>
                  <a:pt x="11343576" y="550077"/>
                </a:cubicBezTo>
                <a:cubicBezTo>
                  <a:pt x="11348682" y="550077"/>
                  <a:pt x="11349958" y="546248"/>
                  <a:pt x="11349958" y="541143"/>
                </a:cubicBezTo>
                <a:cubicBezTo>
                  <a:pt x="11349958" y="538590"/>
                  <a:pt x="11348682" y="536038"/>
                  <a:pt x="11347404" y="533485"/>
                </a:cubicBezTo>
                <a:cubicBezTo>
                  <a:pt x="11346128" y="530932"/>
                  <a:pt x="11343576" y="529656"/>
                  <a:pt x="11341024" y="529656"/>
                </a:cubicBezTo>
                <a:cubicBezTo>
                  <a:pt x="11338472" y="528380"/>
                  <a:pt x="11335920" y="528380"/>
                  <a:pt x="11332090" y="527104"/>
                </a:cubicBezTo>
                <a:lnTo>
                  <a:pt x="11328260" y="525827"/>
                </a:lnTo>
                <a:cubicBezTo>
                  <a:pt x="11325708" y="524551"/>
                  <a:pt x="11323156" y="524551"/>
                  <a:pt x="11320604" y="523275"/>
                </a:cubicBezTo>
                <a:cubicBezTo>
                  <a:pt x="11318052" y="521999"/>
                  <a:pt x="11318052" y="520722"/>
                  <a:pt x="11318052" y="518170"/>
                </a:cubicBezTo>
                <a:cubicBezTo>
                  <a:pt x="11318052" y="515617"/>
                  <a:pt x="11319328" y="514341"/>
                  <a:pt x="11320604" y="513065"/>
                </a:cubicBezTo>
                <a:cubicBezTo>
                  <a:pt x="11321880" y="511788"/>
                  <a:pt x="11324432" y="510512"/>
                  <a:pt x="11328260" y="510512"/>
                </a:cubicBezTo>
                <a:cubicBezTo>
                  <a:pt x="11332090" y="510512"/>
                  <a:pt x="11333366" y="511788"/>
                  <a:pt x="11335920" y="513065"/>
                </a:cubicBezTo>
                <a:cubicBezTo>
                  <a:pt x="11338472" y="514341"/>
                  <a:pt x="11339748" y="516893"/>
                  <a:pt x="11339748" y="520722"/>
                </a:cubicBezTo>
                <a:lnTo>
                  <a:pt x="11347404" y="518170"/>
                </a:lnTo>
                <a:cubicBezTo>
                  <a:pt x="11346128" y="514341"/>
                  <a:pt x="11344852" y="510512"/>
                  <a:pt x="11341024" y="507959"/>
                </a:cubicBezTo>
                <a:cubicBezTo>
                  <a:pt x="11337196" y="505407"/>
                  <a:pt x="11333366" y="504131"/>
                  <a:pt x="11328260" y="504131"/>
                </a:cubicBezTo>
                <a:close/>
                <a:moveTo>
                  <a:pt x="11057690" y="504131"/>
                </a:moveTo>
                <a:cubicBezTo>
                  <a:pt x="11052584" y="504131"/>
                  <a:pt x="11048756" y="505407"/>
                  <a:pt x="11044928" y="507959"/>
                </a:cubicBezTo>
                <a:cubicBezTo>
                  <a:pt x="11041098" y="510512"/>
                  <a:pt x="11039822" y="513065"/>
                  <a:pt x="11039822" y="518170"/>
                </a:cubicBezTo>
                <a:cubicBezTo>
                  <a:pt x="11039822" y="520722"/>
                  <a:pt x="11041098" y="523275"/>
                  <a:pt x="11042376" y="525827"/>
                </a:cubicBezTo>
                <a:cubicBezTo>
                  <a:pt x="11043652" y="527104"/>
                  <a:pt x="11046204" y="529656"/>
                  <a:pt x="11047480" y="529656"/>
                </a:cubicBezTo>
                <a:cubicBezTo>
                  <a:pt x="11050032" y="530932"/>
                  <a:pt x="11052584" y="530932"/>
                  <a:pt x="11055138" y="532209"/>
                </a:cubicBezTo>
                <a:lnTo>
                  <a:pt x="11058966" y="533485"/>
                </a:lnTo>
                <a:cubicBezTo>
                  <a:pt x="11062796" y="533485"/>
                  <a:pt x="11064072" y="534761"/>
                  <a:pt x="11066624" y="536038"/>
                </a:cubicBezTo>
                <a:cubicBezTo>
                  <a:pt x="11069176" y="537314"/>
                  <a:pt x="11069176" y="538590"/>
                  <a:pt x="11069176" y="541143"/>
                </a:cubicBezTo>
                <a:cubicBezTo>
                  <a:pt x="11069176" y="543695"/>
                  <a:pt x="11067900" y="544972"/>
                  <a:pt x="11066624" y="546248"/>
                </a:cubicBezTo>
                <a:cubicBezTo>
                  <a:pt x="11065348" y="547524"/>
                  <a:pt x="11062796" y="548800"/>
                  <a:pt x="11058966" y="548800"/>
                </a:cubicBezTo>
                <a:cubicBezTo>
                  <a:pt x="11056412" y="548800"/>
                  <a:pt x="11055138" y="548800"/>
                  <a:pt x="11052584" y="547524"/>
                </a:cubicBezTo>
                <a:cubicBezTo>
                  <a:pt x="11050032" y="546248"/>
                  <a:pt x="11048756" y="544972"/>
                  <a:pt x="11047480" y="543695"/>
                </a:cubicBezTo>
                <a:cubicBezTo>
                  <a:pt x="11046204" y="542419"/>
                  <a:pt x="11044928" y="539866"/>
                  <a:pt x="11044928" y="536038"/>
                </a:cubicBezTo>
                <a:lnTo>
                  <a:pt x="11037268" y="537314"/>
                </a:lnTo>
                <a:cubicBezTo>
                  <a:pt x="11038546" y="542419"/>
                  <a:pt x="11041098" y="547524"/>
                  <a:pt x="11044928" y="550077"/>
                </a:cubicBezTo>
                <a:cubicBezTo>
                  <a:pt x="11048756" y="552629"/>
                  <a:pt x="11053860" y="553906"/>
                  <a:pt x="11058966" y="553906"/>
                </a:cubicBezTo>
                <a:cubicBezTo>
                  <a:pt x="11064072" y="553906"/>
                  <a:pt x="11069176" y="552629"/>
                  <a:pt x="11073004" y="550077"/>
                </a:cubicBezTo>
                <a:cubicBezTo>
                  <a:pt x="11078110" y="550077"/>
                  <a:pt x="11079386" y="546248"/>
                  <a:pt x="11079386" y="541143"/>
                </a:cubicBezTo>
                <a:cubicBezTo>
                  <a:pt x="11079386" y="538590"/>
                  <a:pt x="11078110" y="536038"/>
                  <a:pt x="11076834" y="533485"/>
                </a:cubicBezTo>
                <a:cubicBezTo>
                  <a:pt x="11075558" y="530932"/>
                  <a:pt x="11073004" y="529656"/>
                  <a:pt x="11070452" y="529656"/>
                </a:cubicBezTo>
                <a:cubicBezTo>
                  <a:pt x="11067900" y="528380"/>
                  <a:pt x="11065348" y="528380"/>
                  <a:pt x="11061520" y="527104"/>
                </a:cubicBezTo>
                <a:lnTo>
                  <a:pt x="11057690" y="525827"/>
                </a:lnTo>
                <a:cubicBezTo>
                  <a:pt x="11055138" y="524551"/>
                  <a:pt x="11052584" y="524551"/>
                  <a:pt x="11050032" y="523275"/>
                </a:cubicBezTo>
                <a:cubicBezTo>
                  <a:pt x="11047480" y="521999"/>
                  <a:pt x="11047480" y="520722"/>
                  <a:pt x="11047480" y="518170"/>
                </a:cubicBezTo>
                <a:cubicBezTo>
                  <a:pt x="11047480" y="515617"/>
                  <a:pt x="11048756" y="514341"/>
                  <a:pt x="11050032" y="513065"/>
                </a:cubicBezTo>
                <a:cubicBezTo>
                  <a:pt x="11051308" y="511788"/>
                  <a:pt x="11053860" y="510512"/>
                  <a:pt x="11057690" y="510512"/>
                </a:cubicBezTo>
                <a:cubicBezTo>
                  <a:pt x="11061520" y="510512"/>
                  <a:pt x="11062796" y="511788"/>
                  <a:pt x="11065348" y="513065"/>
                </a:cubicBezTo>
                <a:cubicBezTo>
                  <a:pt x="11067900" y="514341"/>
                  <a:pt x="11069176" y="516893"/>
                  <a:pt x="11069176" y="520722"/>
                </a:cubicBezTo>
                <a:lnTo>
                  <a:pt x="11076834" y="518170"/>
                </a:lnTo>
                <a:cubicBezTo>
                  <a:pt x="11075558" y="514341"/>
                  <a:pt x="11074282" y="510512"/>
                  <a:pt x="11070452" y="507959"/>
                </a:cubicBezTo>
                <a:cubicBezTo>
                  <a:pt x="11066624" y="505407"/>
                  <a:pt x="11062796" y="504131"/>
                  <a:pt x="11057690" y="504131"/>
                </a:cubicBezTo>
                <a:close/>
                <a:moveTo>
                  <a:pt x="11531190" y="496473"/>
                </a:moveTo>
                <a:lnTo>
                  <a:pt x="11546504" y="496473"/>
                </a:lnTo>
                <a:cubicBezTo>
                  <a:pt x="11551610" y="496473"/>
                  <a:pt x="11554164" y="497749"/>
                  <a:pt x="11555440" y="499025"/>
                </a:cubicBezTo>
                <a:cubicBezTo>
                  <a:pt x="11557992" y="501578"/>
                  <a:pt x="11559268" y="504131"/>
                  <a:pt x="11559268" y="506683"/>
                </a:cubicBezTo>
                <a:lnTo>
                  <a:pt x="11559268" y="507959"/>
                </a:lnTo>
                <a:cubicBezTo>
                  <a:pt x="11559268" y="511788"/>
                  <a:pt x="11557992" y="513065"/>
                  <a:pt x="11555440" y="515617"/>
                </a:cubicBezTo>
                <a:cubicBezTo>
                  <a:pt x="11554164" y="516893"/>
                  <a:pt x="11550334" y="518170"/>
                  <a:pt x="11546504" y="518170"/>
                </a:cubicBezTo>
                <a:lnTo>
                  <a:pt x="11531190" y="518170"/>
                </a:lnTo>
                <a:close/>
                <a:moveTo>
                  <a:pt x="10353184" y="492644"/>
                </a:moveTo>
                <a:lnTo>
                  <a:pt x="10353184" y="509236"/>
                </a:lnTo>
                <a:lnTo>
                  <a:pt x="10339144" y="509236"/>
                </a:lnTo>
                <a:lnTo>
                  <a:pt x="10339144" y="515617"/>
                </a:lnTo>
                <a:lnTo>
                  <a:pt x="10353184" y="515617"/>
                </a:lnTo>
                <a:lnTo>
                  <a:pt x="10353184" y="546248"/>
                </a:lnTo>
                <a:cubicBezTo>
                  <a:pt x="10353184" y="548800"/>
                  <a:pt x="10354460" y="550077"/>
                  <a:pt x="10355736" y="551353"/>
                </a:cubicBezTo>
                <a:cubicBezTo>
                  <a:pt x="10357012" y="552629"/>
                  <a:pt x="10359564" y="553906"/>
                  <a:pt x="10362118" y="553906"/>
                </a:cubicBezTo>
                <a:lnTo>
                  <a:pt x="10362118" y="555182"/>
                </a:lnTo>
                <a:lnTo>
                  <a:pt x="10373604" y="555182"/>
                </a:lnTo>
                <a:lnTo>
                  <a:pt x="10373604" y="548800"/>
                </a:lnTo>
                <a:lnTo>
                  <a:pt x="10363394" y="548800"/>
                </a:lnTo>
                <a:cubicBezTo>
                  <a:pt x="10360840" y="548800"/>
                  <a:pt x="10360840" y="547524"/>
                  <a:pt x="10360840" y="546248"/>
                </a:cubicBezTo>
                <a:lnTo>
                  <a:pt x="10360840" y="515617"/>
                </a:lnTo>
                <a:lnTo>
                  <a:pt x="10376156" y="515617"/>
                </a:lnTo>
                <a:lnTo>
                  <a:pt x="10376156" y="509236"/>
                </a:lnTo>
                <a:lnTo>
                  <a:pt x="10360840" y="509236"/>
                </a:lnTo>
                <a:lnTo>
                  <a:pt x="10360840" y="492644"/>
                </a:lnTo>
                <a:close/>
                <a:moveTo>
                  <a:pt x="11755816" y="491368"/>
                </a:moveTo>
                <a:cubicBezTo>
                  <a:pt x="11754540" y="491368"/>
                  <a:pt x="11753264" y="492644"/>
                  <a:pt x="11751986" y="492644"/>
                </a:cubicBezTo>
                <a:cubicBezTo>
                  <a:pt x="11750710" y="493920"/>
                  <a:pt x="11750710" y="495197"/>
                  <a:pt x="11750710" y="496473"/>
                </a:cubicBezTo>
                <a:cubicBezTo>
                  <a:pt x="11750710" y="499025"/>
                  <a:pt x="11751986" y="500302"/>
                  <a:pt x="11751986" y="500302"/>
                </a:cubicBezTo>
                <a:cubicBezTo>
                  <a:pt x="11753264" y="501578"/>
                  <a:pt x="11754540" y="501578"/>
                  <a:pt x="11755816" y="501578"/>
                </a:cubicBezTo>
                <a:cubicBezTo>
                  <a:pt x="11758368" y="501578"/>
                  <a:pt x="11758368" y="500302"/>
                  <a:pt x="11759644" y="500302"/>
                </a:cubicBezTo>
                <a:cubicBezTo>
                  <a:pt x="11759644" y="500302"/>
                  <a:pt x="11760920" y="497749"/>
                  <a:pt x="11760920" y="496473"/>
                </a:cubicBezTo>
                <a:cubicBezTo>
                  <a:pt x="11760920" y="493920"/>
                  <a:pt x="11759644" y="492644"/>
                  <a:pt x="11759644" y="492644"/>
                </a:cubicBezTo>
                <a:cubicBezTo>
                  <a:pt x="11758368" y="491368"/>
                  <a:pt x="11757092" y="491368"/>
                  <a:pt x="11755816" y="491368"/>
                </a:cubicBezTo>
                <a:close/>
                <a:moveTo>
                  <a:pt x="11477586" y="491368"/>
                </a:moveTo>
                <a:cubicBezTo>
                  <a:pt x="11476310" y="491368"/>
                  <a:pt x="11475032" y="492644"/>
                  <a:pt x="11473756" y="492644"/>
                </a:cubicBezTo>
                <a:cubicBezTo>
                  <a:pt x="11472480" y="493920"/>
                  <a:pt x="11472480" y="495197"/>
                  <a:pt x="11472480" y="496473"/>
                </a:cubicBezTo>
                <a:cubicBezTo>
                  <a:pt x="11472480" y="499025"/>
                  <a:pt x="11473756" y="500302"/>
                  <a:pt x="11473756" y="500302"/>
                </a:cubicBezTo>
                <a:cubicBezTo>
                  <a:pt x="11475032" y="501578"/>
                  <a:pt x="11476310" y="501578"/>
                  <a:pt x="11477586" y="501578"/>
                </a:cubicBezTo>
                <a:cubicBezTo>
                  <a:pt x="11478864" y="501578"/>
                  <a:pt x="11480140" y="500302"/>
                  <a:pt x="11481416" y="500302"/>
                </a:cubicBezTo>
                <a:cubicBezTo>
                  <a:pt x="11481416" y="500302"/>
                  <a:pt x="11482692" y="497749"/>
                  <a:pt x="11482692" y="496473"/>
                </a:cubicBezTo>
                <a:cubicBezTo>
                  <a:pt x="11482692" y="493920"/>
                  <a:pt x="11481416" y="492644"/>
                  <a:pt x="11481416" y="492644"/>
                </a:cubicBezTo>
                <a:cubicBezTo>
                  <a:pt x="11480140" y="491368"/>
                  <a:pt x="11478864" y="491368"/>
                  <a:pt x="11477586" y="491368"/>
                </a:cubicBezTo>
                <a:close/>
                <a:moveTo>
                  <a:pt x="10909640" y="491368"/>
                </a:moveTo>
                <a:cubicBezTo>
                  <a:pt x="10908364" y="491368"/>
                  <a:pt x="10907088" y="492644"/>
                  <a:pt x="10905812" y="492644"/>
                </a:cubicBezTo>
                <a:cubicBezTo>
                  <a:pt x="10904536" y="493920"/>
                  <a:pt x="10904536" y="495197"/>
                  <a:pt x="10904536" y="496473"/>
                </a:cubicBezTo>
                <a:cubicBezTo>
                  <a:pt x="10904536" y="499025"/>
                  <a:pt x="10905812" y="500302"/>
                  <a:pt x="10905812" y="500302"/>
                </a:cubicBezTo>
                <a:cubicBezTo>
                  <a:pt x="10907088" y="501578"/>
                  <a:pt x="10908364" y="501578"/>
                  <a:pt x="10909640" y="501578"/>
                </a:cubicBezTo>
                <a:cubicBezTo>
                  <a:pt x="10910918" y="501578"/>
                  <a:pt x="10912194" y="500302"/>
                  <a:pt x="10913470" y="500302"/>
                </a:cubicBezTo>
                <a:cubicBezTo>
                  <a:pt x="10914748" y="500302"/>
                  <a:pt x="10914748" y="497749"/>
                  <a:pt x="10914748" y="496473"/>
                </a:cubicBezTo>
                <a:cubicBezTo>
                  <a:pt x="10914748" y="493920"/>
                  <a:pt x="10913470" y="492644"/>
                  <a:pt x="10913470" y="492644"/>
                </a:cubicBezTo>
                <a:cubicBezTo>
                  <a:pt x="10912194" y="491368"/>
                  <a:pt x="10910918" y="491368"/>
                  <a:pt x="10909640" y="491368"/>
                </a:cubicBezTo>
                <a:close/>
                <a:moveTo>
                  <a:pt x="9991996" y="491368"/>
                </a:moveTo>
                <a:cubicBezTo>
                  <a:pt x="9990720" y="491368"/>
                  <a:pt x="9989444" y="492644"/>
                  <a:pt x="9988168" y="492644"/>
                </a:cubicBezTo>
                <a:cubicBezTo>
                  <a:pt x="9986892" y="493920"/>
                  <a:pt x="9986892" y="495197"/>
                  <a:pt x="9986892" y="496473"/>
                </a:cubicBezTo>
                <a:cubicBezTo>
                  <a:pt x="9986892" y="499025"/>
                  <a:pt x="9988168" y="500302"/>
                  <a:pt x="9988168" y="500302"/>
                </a:cubicBezTo>
                <a:cubicBezTo>
                  <a:pt x="9989444" y="501578"/>
                  <a:pt x="9990720" y="501578"/>
                  <a:pt x="9991996" y="501578"/>
                </a:cubicBezTo>
                <a:cubicBezTo>
                  <a:pt x="9993272" y="501578"/>
                  <a:pt x="9994548" y="500302"/>
                  <a:pt x="9995824" y="500302"/>
                </a:cubicBezTo>
                <a:cubicBezTo>
                  <a:pt x="9997100" y="500302"/>
                  <a:pt x="9997100" y="497749"/>
                  <a:pt x="9997100" y="496473"/>
                </a:cubicBezTo>
                <a:cubicBezTo>
                  <a:pt x="9997100" y="493920"/>
                  <a:pt x="9995824" y="492644"/>
                  <a:pt x="9995824" y="492644"/>
                </a:cubicBezTo>
                <a:cubicBezTo>
                  <a:pt x="9994548" y="491368"/>
                  <a:pt x="9993272" y="491368"/>
                  <a:pt x="9991996" y="491368"/>
                </a:cubicBezTo>
                <a:close/>
                <a:moveTo>
                  <a:pt x="11289972" y="490092"/>
                </a:moveTo>
                <a:lnTo>
                  <a:pt x="11289972" y="555182"/>
                </a:lnTo>
                <a:lnTo>
                  <a:pt x="11297632" y="555182"/>
                </a:lnTo>
                <a:lnTo>
                  <a:pt x="11297632" y="490092"/>
                </a:lnTo>
                <a:close/>
                <a:moveTo>
                  <a:pt x="10930062" y="490092"/>
                </a:moveTo>
                <a:lnTo>
                  <a:pt x="10930062" y="555182"/>
                </a:lnTo>
                <a:lnTo>
                  <a:pt x="10937720" y="555182"/>
                </a:lnTo>
                <a:lnTo>
                  <a:pt x="10937720" y="547524"/>
                </a:lnTo>
                <a:lnTo>
                  <a:pt x="10938996" y="547524"/>
                </a:lnTo>
                <a:cubicBezTo>
                  <a:pt x="10940272" y="550077"/>
                  <a:pt x="10941548" y="551353"/>
                  <a:pt x="10944100" y="553906"/>
                </a:cubicBezTo>
                <a:cubicBezTo>
                  <a:pt x="10946654" y="556458"/>
                  <a:pt x="10950482" y="556458"/>
                  <a:pt x="10955588" y="556458"/>
                </a:cubicBezTo>
                <a:cubicBezTo>
                  <a:pt x="10959416" y="556458"/>
                  <a:pt x="10963244" y="555182"/>
                  <a:pt x="10965798" y="553906"/>
                </a:cubicBezTo>
                <a:cubicBezTo>
                  <a:pt x="10969628" y="552629"/>
                  <a:pt x="10970904" y="550077"/>
                  <a:pt x="10973456" y="546248"/>
                </a:cubicBezTo>
                <a:cubicBezTo>
                  <a:pt x="10976008" y="542419"/>
                  <a:pt x="10976008" y="538590"/>
                  <a:pt x="10976008" y="533485"/>
                </a:cubicBezTo>
                <a:lnTo>
                  <a:pt x="10976008" y="532209"/>
                </a:lnTo>
                <a:lnTo>
                  <a:pt x="10974732" y="532209"/>
                </a:lnTo>
                <a:cubicBezTo>
                  <a:pt x="10974732" y="527104"/>
                  <a:pt x="10973456" y="523275"/>
                  <a:pt x="10972180" y="519446"/>
                </a:cubicBezTo>
                <a:cubicBezTo>
                  <a:pt x="10969628" y="515617"/>
                  <a:pt x="10968352" y="514341"/>
                  <a:pt x="10964520" y="511788"/>
                </a:cubicBezTo>
                <a:cubicBezTo>
                  <a:pt x="10961968" y="509236"/>
                  <a:pt x="10958140" y="509236"/>
                  <a:pt x="10954312" y="509236"/>
                </a:cubicBezTo>
                <a:cubicBezTo>
                  <a:pt x="10951758" y="509236"/>
                  <a:pt x="10949206" y="510512"/>
                  <a:pt x="10946654" y="510512"/>
                </a:cubicBezTo>
                <a:cubicBezTo>
                  <a:pt x="10944100" y="511788"/>
                  <a:pt x="10942824" y="511788"/>
                  <a:pt x="10941548" y="513065"/>
                </a:cubicBezTo>
                <a:cubicBezTo>
                  <a:pt x="10940272" y="514341"/>
                  <a:pt x="10938996" y="515617"/>
                  <a:pt x="10938996" y="516893"/>
                </a:cubicBezTo>
                <a:lnTo>
                  <a:pt x="10937720" y="516893"/>
                </a:lnTo>
                <a:lnTo>
                  <a:pt x="10937720" y="490092"/>
                </a:lnTo>
                <a:close/>
                <a:moveTo>
                  <a:pt x="10650556" y="490092"/>
                </a:moveTo>
                <a:lnTo>
                  <a:pt x="10650556" y="555182"/>
                </a:lnTo>
                <a:lnTo>
                  <a:pt x="10691398" y="555182"/>
                </a:lnTo>
                <a:lnTo>
                  <a:pt x="10691398" y="547524"/>
                </a:lnTo>
                <a:lnTo>
                  <a:pt x="10658214" y="547524"/>
                </a:lnTo>
                <a:lnTo>
                  <a:pt x="10658214" y="525827"/>
                </a:lnTo>
                <a:lnTo>
                  <a:pt x="10687568" y="525827"/>
                </a:lnTo>
                <a:lnTo>
                  <a:pt x="10687568" y="518170"/>
                </a:lnTo>
                <a:lnTo>
                  <a:pt x="10658214" y="518170"/>
                </a:lnTo>
                <a:lnTo>
                  <a:pt x="10658214" y="496473"/>
                </a:lnTo>
                <a:lnTo>
                  <a:pt x="10691398" y="496473"/>
                </a:lnTo>
                <a:lnTo>
                  <a:pt x="10691398" y="490092"/>
                </a:lnTo>
                <a:close/>
                <a:moveTo>
                  <a:pt x="10515272" y="490092"/>
                </a:moveTo>
                <a:cubicBezTo>
                  <a:pt x="10512720" y="490092"/>
                  <a:pt x="10510166" y="491368"/>
                  <a:pt x="10508890" y="492644"/>
                </a:cubicBezTo>
                <a:cubicBezTo>
                  <a:pt x="10507612" y="493920"/>
                  <a:pt x="10506336" y="495197"/>
                  <a:pt x="10506336" y="497749"/>
                </a:cubicBezTo>
                <a:lnTo>
                  <a:pt x="10506336" y="509236"/>
                </a:lnTo>
                <a:lnTo>
                  <a:pt x="10492298" y="509236"/>
                </a:lnTo>
                <a:lnTo>
                  <a:pt x="10492298" y="515617"/>
                </a:lnTo>
                <a:lnTo>
                  <a:pt x="10506336" y="515617"/>
                </a:lnTo>
                <a:lnTo>
                  <a:pt x="10506336" y="555182"/>
                </a:lnTo>
                <a:lnTo>
                  <a:pt x="10513994" y="555182"/>
                </a:lnTo>
                <a:lnTo>
                  <a:pt x="10513994" y="515617"/>
                </a:lnTo>
                <a:lnTo>
                  <a:pt x="10528034" y="515617"/>
                </a:lnTo>
                <a:lnTo>
                  <a:pt x="10528034" y="509236"/>
                </a:lnTo>
                <a:lnTo>
                  <a:pt x="10515272" y="509236"/>
                </a:lnTo>
                <a:lnTo>
                  <a:pt x="10515272" y="499025"/>
                </a:lnTo>
                <a:cubicBezTo>
                  <a:pt x="10515272" y="496473"/>
                  <a:pt x="10516548" y="496473"/>
                  <a:pt x="10517824" y="496473"/>
                </a:cubicBezTo>
                <a:lnTo>
                  <a:pt x="10526756" y="496473"/>
                </a:lnTo>
                <a:lnTo>
                  <a:pt x="10526756" y="490092"/>
                </a:lnTo>
                <a:close/>
                <a:moveTo>
                  <a:pt x="10046876" y="490092"/>
                </a:moveTo>
                <a:lnTo>
                  <a:pt x="10046876" y="516893"/>
                </a:lnTo>
                <a:lnTo>
                  <a:pt x="10045600" y="516893"/>
                </a:lnTo>
                <a:cubicBezTo>
                  <a:pt x="10044324" y="515617"/>
                  <a:pt x="10044324" y="514341"/>
                  <a:pt x="10043048" y="513065"/>
                </a:cubicBezTo>
                <a:cubicBezTo>
                  <a:pt x="10041772" y="511788"/>
                  <a:pt x="10039218" y="510512"/>
                  <a:pt x="10037942" y="510512"/>
                </a:cubicBezTo>
                <a:cubicBezTo>
                  <a:pt x="10035388" y="509236"/>
                  <a:pt x="10032836" y="509236"/>
                  <a:pt x="10030284" y="509236"/>
                </a:cubicBezTo>
                <a:cubicBezTo>
                  <a:pt x="10026456" y="509236"/>
                  <a:pt x="10022628" y="510512"/>
                  <a:pt x="10020074" y="511788"/>
                </a:cubicBezTo>
                <a:cubicBezTo>
                  <a:pt x="10016244" y="513065"/>
                  <a:pt x="10014968" y="515617"/>
                  <a:pt x="10012416" y="519446"/>
                </a:cubicBezTo>
                <a:cubicBezTo>
                  <a:pt x="10009864" y="523275"/>
                  <a:pt x="10009864" y="527104"/>
                  <a:pt x="10009864" y="532209"/>
                </a:cubicBezTo>
                <a:lnTo>
                  <a:pt x="10009864" y="533485"/>
                </a:lnTo>
                <a:cubicBezTo>
                  <a:pt x="10009864" y="538590"/>
                  <a:pt x="10011140" y="542419"/>
                  <a:pt x="10012416" y="546248"/>
                </a:cubicBezTo>
                <a:cubicBezTo>
                  <a:pt x="10014968" y="550077"/>
                  <a:pt x="10017522" y="551353"/>
                  <a:pt x="10020074" y="553906"/>
                </a:cubicBezTo>
                <a:cubicBezTo>
                  <a:pt x="10022628" y="556458"/>
                  <a:pt x="10026456" y="556458"/>
                  <a:pt x="10030284" y="556458"/>
                </a:cubicBezTo>
                <a:cubicBezTo>
                  <a:pt x="10035388" y="556458"/>
                  <a:pt x="10039218" y="555182"/>
                  <a:pt x="10040496" y="553906"/>
                </a:cubicBezTo>
                <a:cubicBezTo>
                  <a:pt x="10043048" y="551353"/>
                  <a:pt x="10044324" y="550077"/>
                  <a:pt x="10045600" y="547524"/>
                </a:cubicBezTo>
                <a:lnTo>
                  <a:pt x="10046876" y="547524"/>
                </a:lnTo>
                <a:lnTo>
                  <a:pt x="10046876" y="555182"/>
                </a:lnTo>
                <a:lnTo>
                  <a:pt x="10054534" y="555182"/>
                </a:lnTo>
                <a:lnTo>
                  <a:pt x="10054534" y="490092"/>
                </a:lnTo>
                <a:close/>
                <a:moveTo>
                  <a:pt x="11514598" y="488815"/>
                </a:moveTo>
                <a:lnTo>
                  <a:pt x="11514598" y="496473"/>
                </a:lnTo>
                <a:lnTo>
                  <a:pt x="11523532" y="496473"/>
                </a:lnTo>
                <a:lnTo>
                  <a:pt x="11523532" y="548800"/>
                </a:lnTo>
                <a:lnTo>
                  <a:pt x="11514598" y="548800"/>
                </a:lnTo>
                <a:lnTo>
                  <a:pt x="11514598" y="553906"/>
                </a:lnTo>
                <a:lnTo>
                  <a:pt x="11547780" y="553906"/>
                </a:lnTo>
                <a:cubicBezTo>
                  <a:pt x="11551610" y="553906"/>
                  <a:pt x="11555440" y="552629"/>
                  <a:pt x="11557992" y="551353"/>
                </a:cubicBezTo>
                <a:cubicBezTo>
                  <a:pt x="11560544" y="550077"/>
                  <a:pt x="11563096" y="548800"/>
                  <a:pt x="11565650" y="546248"/>
                </a:cubicBezTo>
                <a:cubicBezTo>
                  <a:pt x="11568202" y="543695"/>
                  <a:pt x="11568202" y="541143"/>
                  <a:pt x="11568202" y="537314"/>
                </a:cubicBezTo>
                <a:lnTo>
                  <a:pt x="11568202" y="536038"/>
                </a:lnTo>
                <a:cubicBezTo>
                  <a:pt x="11568202" y="532209"/>
                  <a:pt x="11566924" y="530932"/>
                  <a:pt x="11565650" y="528380"/>
                </a:cubicBezTo>
                <a:cubicBezTo>
                  <a:pt x="11564372" y="527104"/>
                  <a:pt x="11563096" y="524551"/>
                  <a:pt x="11561820" y="524551"/>
                </a:cubicBezTo>
                <a:cubicBezTo>
                  <a:pt x="11559268" y="523275"/>
                  <a:pt x="11557992" y="523275"/>
                  <a:pt x="11556716" y="521999"/>
                </a:cubicBezTo>
                <a:lnTo>
                  <a:pt x="11556716" y="520722"/>
                </a:lnTo>
                <a:cubicBezTo>
                  <a:pt x="11557992" y="520722"/>
                  <a:pt x="11560544" y="519446"/>
                  <a:pt x="11561820" y="518170"/>
                </a:cubicBezTo>
                <a:cubicBezTo>
                  <a:pt x="11563096" y="516893"/>
                  <a:pt x="11564372" y="515617"/>
                  <a:pt x="11565650" y="514341"/>
                </a:cubicBezTo>
                <a:cubicBezTo>
                  <a:pt x="11566924" y="511788"/>
                  <a:pt x="11568202" y="509236"/>
                  <a:pt x="11568202" y="505407"/>
                </a:cubicBezTo>
                <a:cubicBezTo>
                  <a:pt x="11568202" y="501578"/>
                  <a:pt x="11566924" y="499025"/>
                  <a:pt x="11565650" y="496473"/>
                </a:cubicBezTo>
                <a:cubicBezTo>
                  <a:pt x="11563096" y="493920"/>
                  <a:pt x="11561820" y="492644"/>
                  <a:pt x="11557992" y="491368"/>
                </a:cubicBezTo>
                <a:cubicBezTo>
                  <a:pt x="11555440" y="490092"/>
                  <a:pt x="11551610" y="488815"/>
                  <a:pt x="11547780" y="488815"/>
                </a:cubicBezTo>
                <a:close/>
                <a:moveTo>
                  <a:pt x="9970300" y="488815"/>
                </a:moveTo>
                <a:lnTo>
                  <a:pt x="9952432" y="550077"/>
                </a:lnTo>
                <a:lnTo>
                  <a:pt x="9951156" y="550077"/>
                </a:lnTo>
                <a:lnTo>
                  <a:pt x="9933288" y="490092"/>
                </a:lnTo>
                <a:lnTo>
                  <a:pt x="9925630" y="490092"/>
                </a:lnTo>
                <a:lnTo>
                  <a:pt x="9946050" y="555182"/>
                </a:lnTo>
                <a:lnTo>
                  <a:pt x="9946050" y="553906"/>
                </a:lnTo>
                <a:lnTo>
                  <a:pt x="9960088" y="553906"/>
                </a:lnTo>
                <a:lnTo>
                  <a:pt x="9977956" y="488815"/>
                </a:lnTo>
                <a:close/>
                <a:moveTo>
                  <a:pt x="9951156" y="356082"/>
                </a:moveTo>
                <a:lnTo>
                  <a:pt x="9980510" y="356082"/>
                </a:lnTo>
                <a:cubicBezTo>
                  <a:pt x="9985616" y="356082"/>
                  <a:pt x="9990720" y="357358"/>
                  <a:pt x="9993272" y="359911"/>
                </a:cubicBezTo>
                <a:cubicBezTo>
                  <a:pt x="9997100" y="362464"/>
                  <a:pt x="9998378" y="366292"/>
                  <a:pt x="9998378" y="371398"/>
                </a:cubicBezTo>
                <a:lnTo>
                  <a:pt x="9998378" y="372674"/>
                </a:lnTo>
                <a:cubicBezTo>
                  <a:pt x="9998378" y="377779"/>
                  <a:pt x="9997100" y="381608"/>
                  <a:pt x="9993272" y="384160"/>
                </a:cubicBezTo>
                <a:cubicBezTo>
                  <a:pt x="9990720" y="386713"/>
                  <a:pt x="9985616" y="387989"/>
                  <a:pt x="9980510" y="387989"/>
                </a:cubicBezTo>
                <a:lnTo>
                  <a:pt x="9951156" y="387989"/>
                </a:lnTo>
                <a:close/>
                <a:moveTo>
                  <a:pt x="9517220" y="350977"/>
                </a:moveTo>
                <a:lnTo>
                  <a:pt x="9517220" y="495197"/>
                </a:lnTo>
                <a:lnTo>
                  <a:pt x="9582310" y="585813"/>
                </a:lnTo>
                <a:lnTo>
                  <a:pt x="9582310" y="440317"/>
                </a:lnTo>
                <a:close/>
                <a:moveTo>
                  <a:pt x="9703556" y="344596"/>
                </a:moveTo>
                <a:lnTo>
                  <a:pt x="9589968" y="440317"/>
                </a:lnTo>
                <a:lnTo>
                  <a:pt x="9589968" y="593470"/>
                </a:lnTo>
                <a:lnTo>
                  <a:pt x="9814592" y="566668"/>
                </a:lnTo>
                <a:lnTo>
                  <a:pt x="9814592" y="413515"/>
                </a:lnTo>
                <a:lnTo>
                  <a:pt x="9815868" y="413515"/>
                </a:lnTo>
                <a:close/>
                <a:moveTo>
                  <a:pt x="10166846" y="339491"/>
                </a:moveTo>
                <a:cubicBezTo>
                  <a:pt x="10173228" y="339491"/>
                  <a:pt x="10179608" y="342043"/>
                  <a:pt x="10183438" y="345872"/>
                </a:cubicBezTo>
                <a:cubicBezTo>
                  <a:pt x="10188544" y="349701"/>
                  <a:pt x="10191096" y="356082"/>
                  <a:pt x="10191096" y="363740"/>
                </a:cubicBezTo>
                <a:lnTo>
                  <a:pt x="10191096" y="365016"/>
                </a:lnTo>
                <a:cubicBezTo>
                  <a:pt x="10189820" y="372674"/>
                  <a:pt x="10187268" y="379055"/>
                  <a:pt x="10183438" y="382884"/>
                </a:cubicBezTo>
                <a:cubicBezTo>
                  <a:pt x="10179608" y="386713"/>
                  <a:pt x="10173228" y="389265"/>
                  <a:pt x="10166846" y="389265"/>
                </a:cubicBezTo>
                <a:cubicBezTo>
                  <a:pt x="10160464" y="389265"/>
                  <a:pt x="10154084" y="387989"/>
                  <a:pt x="10148980" y="382884"/>
                </a:cubicBezTo>
                <a:cubicBezTo>
                  <a:pt x="10143872" y="379055"/>
                  <a:pt x="10141320" y="372674"/>
                  <a:pt x="10141320" y="365016"/>
                </a:cubicBezTo>
                <a:lnTo>
                  <a:pt x="10141320" y="363740"/>
                </a:lnTo>
                <a:cubicBezTo>
                  <a:pt x="10141320" y="356082"/>
                  <a:pt x="10143872" y="349701"/>
                  <a:pt x="10148980" y="345872"/>
                </a:cubicBezTo>
                <a:cubicBezTo>
                  <a:pt x="10154084" y="342043"/>
                  <a:pt x="10160464" y="339491"/>
                  <a:pt x="10166846" y="339491"/>
                </a:cubicBezTo>
                <a:close/>
                <a:moveTo>
                  <a:pt x="11217224" y="338214"/>
                </a:moveTo>
                <a:cubicBezTo>
                  <a:pt x="11223608" y="338214"/>
                  <a:pt x="11229988" y="340767"/>
                  <a:pt x="11233816" y="344596"/>
                </a:cubicBezTo>
                <a:cubicBezTo>
                  <a:pt x="11238920" y="348424"/>
                  <a:pt x="11241474" y="354806"/>
                  <a:pt x="11241474" y="362464"/>
                </a:cubicBezTo>
                <a:lnTo>
                  <a:pt x="11241474" y="363740"/>
                </a:lnTo>
                <a:cubicBezTo>
                  <a:pt x="11240198" y="371398"/>
                  <a:pt x="11237644" y="377779"/>
                  <a:pt x="11233816" y="381608"/>
                </a:cubicBezTo>
                <a:cubicBezTo>
                  <a:pt x="11229988" y="385437"/>
                  <a:pt x="11223608" y="387989"/>
                  <a:pt x="11217224" y="387989"/>
                </a:cubicBezTo>
                <a:cubicBezTo>
                  <a:pt x="11210844" y="387989"/>
                  <a:pt x="11204462" y="385437"/>
                  <a:pt x="11199356" y="381608"/>
                </a:cubicBezTo>
                <a:cubicBezTo>
                  <a:pt x="11194252" y="377779"/>
                  <a:pt x="11191700" y="371398"/>
                  <a:pt x="11191700" y="363740"/>
                </a:cubicBezTo>
                <a:lnTo>
                  <a:pt x="11191700" y="362464"/>
                </a:lnTo>
                <a:cubicBezTo>
                  <a:pt x="11191700" y="354806"/>
                  <a:pt x="11194252" y="348424"/>
                  <a:pt x="11199356" y="344596"/>
                </a:cubicBezTo>
                <a:cubicBezTo>
                  <a:pt x="11204462" y="340767"/>
                  <a:pt x="11209568" y="338214"/>
                  <a:pt x="11217224" y="338214"/>
                </a:cubicBezTo>
                <a:close/>
                <a:moveTo>
                  <a:pt x="11057690" y="338214"/>
                </a:moveTo>
                <a:cubicBezTo>
                  <a:pt x="11062796" y="338214"/>
                  <a:pt x="11067900" y="339491"/>
                  <a:pt x="11071728" y="343319"/>
                </a:cubicBezTo>
                <a:cubicBezTo>
                  <a:pt x="11075558" y="345872"/>
                  <a:pt x="11076834" y="349701"/>
                  <a:pt x="11076834" y="356082"/>
                </a:cubicBezTo>
                <a:lnTo>
                  <a:pt x="11034716" y="356082"/>
                </a:lnTo>
                <a:cubicBezTo>
                  <a:pt x="11037268" y="350977"/>
                  <a:pt x="11038546" y="345872"/>
                  <a:pt x="11042376" y="343319"/>
                </a:cubicBezTo>
                <a:cubicBezTo>
                  <a:pt x="11046204" y="339491"/>
                  <a:pt x="11051308" y="338214"/>
                  <a:pt x="11057690" y="338214"/>
                </a:cubicBezTo>
                <a:close/>
                <a:moveTo>
                  <a:pt x="10720752" y="338214"/>
                </a:moveTo>
                <a:cubicBezTo>
                  <a:pt x="10728408" y="338214"/>
                  <a:pt x="10733516" y="340767"/>
                  <a:pt x="10737344" y="344596"/>
                </a:cubicBezTo>
                <a:cubicBezTo>
                  <a:pt x="10742448" y="348424"/>
                  <a:pt x="10745002" y="354806"/>
                  <a:pt x="10745002" y="362464"/>
                </a:cubicBezTo>
                <a:lnTo>
                  <a:pt x="10745002" y="363740"/>
                </a:lnTo>
                <a:cubicBezTo>
                  <a:pt x="10745002" y="371398"/>
                  <a:pt x="10742448" y="377779"/>
                  <a:pt x="10737344" y="381608"/>
                </a:cubicBezTo>
                <a:cubicBezTo>
                  <a:pt x="10733516" y="385437"/>
                  <a:pt x="10727132" y="387989"/>
                  <a:pt x="10720752" y="387989"/>
                </a:cubicBezTo>
                <a:cubicBezTo>
                  <a:pt x="10713096" y="387989"/>
                  <a:pt x="10707988" y="385437"/>
                  <a:pt x="10702884" y="381608"/>
                </a:cubicBezTo>
                <a:cubicBezTo>
                  <a:pt x="10697780" y="377779"/>
                  <a:pt x="10695226" y="371398"/>
                  <a:pt x="10695226" y="363740"/>
                </a:cubicBezTo>
                <a:lnTo>
                  <a:pt x="10695226" y="362464"/>
                </a:lnTo>
                <a:cubicBezTo>
                  <a:pt x="10695226" y="354806"/>
                  <a:pt x="10697780" y="348424"/>
                  <a:pt x="10702884" y="344596"/>
                </a:cubicBezTo>
                <a:cubicBezTo>
                  <a:pt x="10707988" y="340767"/>
                  <a:pt x="10713096" y="338214"/>
                  <a:pt x="10720752" y="338214"/>
                </a:cubicBezTo>
                <a:close/>
                <a:moveTo>
                  <a:pt x="10618650" y="338214"/>
                </a:moveTo>
                <a:cubicBezTo>
                  <a:pt x="10626308" y="338214"/>
                  <a:pt x="10631412" y="340767"/>
                  <a:pt x="10635240" y="345872"/>
                </a:cubicBezTo>
                <a:cubicBezTo>
                  <a:pt x="10639070" y="350977"/>
                  <a:pt x="10641622" y="357358"/>
                  <a:pt x="10641622" y="365016"/>
                </a:cubicBezTo>
                <a:lnTo>
                  <a:pt x="10641622" y="366292"/>
                </a:lnTo>
                <a:cubicBezTo>
                  <a:pt x="10641622" y="375226"/>
                  <a:pt x="10639070" y="381608"/>
                  <a:pt x="10635240" y="385437"/>
                </a:cubicBezTo>
                <a:cubicBezTo>
                  <a:pt x="10631412" y="389265"/>
                  <a:pt x="10626308" y="391818"/>
                  <a:pt x="10618650" y="391818"/>
                </a:cubicBezTo>
                <a:cubicBezTo>
                  <a:pt x="10612268" y="391818"/>
                  <a:pt x="10605888" y="389265"/>
                  <a:pt x="10602058" y="385437"/>
                </a:cubicBezTo>
                <a:cubicBezTo>
                  <a:pt x="10598228" y="380331"/>
                  <a:pt x="10595676" y="373950"/>
                  <a:pt x="10595676" y="366292"/>
                </a:cubicBezTo>
                <a:lnTo>
                  <a:pt x="10595676" y="365016"/>
                </a:lnTo>
                <a:cubicBezTo>
                  <a:pt x="10595676" y="356082"/>
                  <a:pt x="10598228" y="349701"/>
                  <a:pt x="10602058" y="345872"/>
                </a:cubicBezTo>
                <a:cubicBezTo>
                  <a:pt x="10605888" y="340767"/>
                  <a:pt x="10610992" y="338214"/>
                  <a:pt x="10618650" y="338214"/>
                </a:cubicBezTo>
                <a:close/>
                <a:moveTo>
                  <a:pt x="10376156" y="338214"/>
                </a:moveTo>
                <a:cubicBezTo>
                  <a:pt x="10381262" y="338214"/>
                  <a:pt x="10386366" y="339491"/>
                  <a:pt x="10390196" y="343319"/>
                </a:cubicBezTo>
                <a:cubicBezTo>
                  <a:pt x="10392748" y="345872"/>
                  <a:pt x="10395300" y="349701"/>
                  <a:pt x="10395300" y="356082"/>
                </a:cubicBezTo>
                <a:lnTo>
                  <a:pt x="10353184" y="356082"/>
                </a:lnTo>
                <a:cubicBezTo>
                  <a:pt x="10354460" y="350977"/>
                  <a:pt x="10357012" y="345872"/>
                  <a:pt x="10360840" y="343319"/>
                </a:cubicBezTo>
                <a:cubicBezTo>
                  <a:pt x="10364670" y="339491"/>
                  <a:pt x="10369776" y="338214"/>
                  <a:pt x="10376156" y="338214"/>
                </a:cubicBezTo>
                <a:close/>
                <a:moveTo>
                  <a:pt x="10272778" y="338214"/>
                </a:moveTo>
                <a:cubicBezTo>
                  <a:pt x="10279160" y="338214"/>
                  <a:pt x="10285540" y="340767"/>
                  <a:pt x="10289370" y="344596"/>
                </a:cubicBezTo>
                <a:cubicBezTo>
                  <a:pt x="10294474" y="348424"/>
                  <a:pt x="10297028" y="354806"/>
                  <a:pt x="10297028" y="362464"/>
                </a:cubicBezTo>
                <a:lnTo>
                  <a:pt x="10297028" y="363740"/>
                </a:lnTo>
                <a:cubicBezTo>
                  <a:pt x="10295752" y="371398"/>
                  <a:pt x="10293198" y="377779"/>
                  <a:pt x="10289370" y="381608"/>
                </a:cubicBezTo>
                <a:cubicBezTo>
                  <a:pt x="10285540" y="385437"/>
                  <a:pt x="10279160" y="387989"/>
                  <a:pt x="10272778" y="387989"/>
                </a:cubicBezTo>
                <a:cubicBezTo>
                  <a:pt x="10265120" y="387989"/>
                  <a:pt x="10260016" y="385437"/>
                  <a:pt x="10254910" y="381608"/>
                </a:cubicBezTo>
                <a:cubicBezTo>
                  <a:pt x="10249804" y="377779"/>
                  <a:pt x="10247252" y="371398"/>
                  <a:pt x="10247252" y="363740"/>
                </a:cubicBezTo>
                <a:lnTo>
                  <a:pt x="10247252" y="362464"/>
                </a:lnTo>
                <a:cubicBezTo>
                  <a:pt x="10247252" y="354806"/>
                  <a:pt x="10249804" y="348424"/>
                  <a:pt x="10254910" y="344596"/>
                </a:cubicBezTo>
                <a:cubicBezTo>
                  <a:pt x="10260016" y="340767"/>
                  <a:pt x="10265120" y="338214"/>
                  <a:pt x="10272778" y="338214"/>
                </a:cubicBezTo>
                <a:close/>
                <a:moveTo>
                  <a:pt x="11282316" y="324175"/>
                </a:moveTo>
                <a:lnTo>
                  <a:pt x="11282316" y="407133"/>
                </a:lnTo>
                <a:lnTo>
                  <a:pt x="11301460" y="407133"/>
                </a:lnTo>
                <a:lnTo>
                  <a:pt x="11301460" y="324175"/>
                </a:lnTo>
                <a:close/>
                <a:moveTo>
                  <a:pt x="11154688" y="324175"/>
                </a:moveTo>
                <a:cubicBezTo>
                  <a:pt x="11150860" y="324175"/>
                  <a:pt x="11147030" y="325451"/>
                  <a:pt x="11144476" y="326728"/>
                </a:cubicBezTo>
                <a:cubicBezTo>
                  <a:pt x="11141924" y="329280"/>
                  <a:pt x="11139372" y="330557"/>
                  <a:pt x="11138096" y="334385"/>
                </a:cubicBezTo>
                <a:lnTo>
                  <a:pt x="11135544" y="334385"/>
                </a:lnTo>
                <a:lnTo>
                  <a:pt x="11135544" y="325451"/>
                </a:lnTo>
                <a:lnTo>
                  <a:pt x="11116400" y="325451"/>
                </a:lnTo>
                <a:lnTo>
                  <a:pt x="11116400" y="407133"/>
                </a:lnTo>
                <a:lnTo>
                  <a:pt x="11136820" y="407133"/>
                </a:lnTo>
                <a:lnTo>
                  <a:pt x="11136820" y="357358"/>
                </a:lnTo>
                <a:cubicBezTo>
                  <a:pt x="11135544" y="350977"/>
                  <a:pt x="11136820" y="347148"/>
                  <a:pt x="11140648" y="344596"/>
                </a:cubicBezTo>
                <a:cubicBezTo>
                  <a:pt x="11144476" y="342043"/>
                  <a:pt x="11148306" y="340767"/>
                  <a:pt x="11154688" y="340767"/>
                </a:cubicBezTo>
                <a:lnTo>
                  <a:pt x="11164896" y="340767"/>
                </a:lnTo>
                <a:lnTo>
                  <a:pt x="11164896" y="324175"/>
                </a:lnTo>
                <a:close/>
                <a:moveTo>
                  <a:pt x="10967074" y="324175"/>
                </a:moveTo>
                <a:cubicBezTo>
                  <a:pt x="10959416" y="324175"/>
                  <a:pt x="10953036" y="325451"/>
                  <a:pt x="10950482" y="328004"/>
                </a:cubicBezTo>
                <a:cubicBezTo>
                  <a:pt x="10946654" y="330557"/>
                  <a:pt x="10944100" y="333109"/>
                  <a:pt x="10942824" y="336938"/>
                </a:cubicBezTo>
                <a:lnTo>
                  <a:pt x="10937720" y="336938"/>
                </a:lnTo>
                <a:lnTo>
                  <a:pt x="10937720" y="325451"/>
                </a:lnTo>
                <a:lnTo>
                  <a:pt x="10918576" y="325451"/>
                </a:lnTo>
                <a:lnTo>
                  <a:pt x="10918576" y="408410"/>
                </a:lnTo>
                <a:lnTo>
                  <a:pt x="10918576" y="409686"/>
                </a:lnTo>
                <a:lnTo>
                  <a:pt x="10937720" y="409686"/>
                </a:lnTo>
                <a:lnTo>
                  <a:pt x="10937720" y="367569"/>
                </a:lnTo>
                <a:cubicBezTo>
                  <a:pt x="10937720" y="358635"/>
                  <a:pt x="10938996" y="352253"/>
                  <a:pt x="10942824" y="348424"/>
                </a:cubicBezTo>
                <a:cubicBezTo>
                  <a:pt x="10946654" y="343319"/>
                  <a:pt x="10951758" y="340767"/>
                  <a:pt x="10959416" y="340767"/>
                </a:cubicBezTo>
                <a:cubicBezTo>
                  <a:pt x="10965798" y="340767"/>
                  <a:pt x="10969628" y="342043"/>
                  <a:pt x="10973456" y="345872"/>
                </a:cubicBezTo>
                <a:cubicBezTo>
                  <a:pt x="10977284" y="347148"/>
                  <a:pt x="10979836" y="352253"/>
                  <a:pt x="10979836" y="358635"/>
                </a:cubicBezTo>
                <a:lnTo>
                  <a:pt x="10979836" y="407133"/>
                </a:lnTo>
                <a:lnTo>
                  <a:pt x="10998980" y="407133"/>
                </a:lnTo>
                <a:lnTo>
                  <a:pt x="10998980" y="357358"/>
                </a:lnTo>
                <a:cubicBezTo>
                  <a:pt x="10998980" y="349701"/>
                  <a:pt x="10997704" y="343319"/>
                  <a:pt x="10995152" y="339491"/>
                </a:cubicBezTo>
                <a:cubicBezTo>
                  <a:pt x="10992600" y="334385"/>
                  <a:pt x="10988772" y="330557"/>
                  <a:pt x="10983664" y="328004"/>
                </a:cubicBezTo>
                <a:cubicBezTo>
                  <a:pt x="10978560" y="325451"/>
                  <a:pt x="10973456" y="324175"/>
                  <a:pt x="10967074" y="324175"/>
                </a:cubicBezTo>
                <a:close/>
                <a:moveTo>
                  <a:pt x="10497404" y="324175"/>
                </a:moveTo>
                <a:lnTo>
                  <a:pt x="10497404" y="407133"/>
                </a:lnTo>
                <a:lnTo>
                  <a:pt x="10516548" y="407133"/>
                </a:lnTo>
                <a:lnTo>
                  <a:pt x="10516548" y="324175"/>
                </a:lnTo>
                <a:close/>
                <a:moveTo>
                  <a:pt x="10471876" y="322899"/>
                </a:moveTo>
                <a:cubicBezTo>
                  <a:pt x="10468048" y="322899"/>
                  <a:pt x="10464220" y="324175"/>
                  <a:pt x="10461668" y="325451"/>
                </a:cubicBezTo>
                <a:cubicBezTo>
                  <a:pt x="10459116" y="328004"/>
                  <a:pt x="10456562" y="329280"/>
                  <a:pt x="10455286" y="333109"/>
                </a:cubicBezTo>
                <a:lnTo>
                  <a:pt x="10452732" y="333109"/>
                </a:lnTo>
                <a:lnTo>
                  <a:pt x="10452732" y="324175"/>
                </a:lnTo>
                <a:lnTo>
                  <a:pt x="10433588" y="324175"/>
                </a:lnTo>
                <a:lnTo>
                  <a:pt x="10433588" y="405857"/>
                </a:lnTo>
                <a:lnTo>
                  <a:pt x="10454008" y="405857"/>
                </a:lnTo>
                <a:lnTo>
                  <a:pt x="10454008" y="357358"/>
                </a:lnTo>
                <a:cubicBezTo>
                  <a:pt x="10454008" y="350977"/>
                  <a:pt x="10455286" y="347148"/>
                  <a:pt x="10459116" y="343319"/>
                </a:cubicBezTo>
                <a:cubicBezTo>
                  <a:pt x="10462944" y="340767"/>
                  <a:pt x="10466772" y="339491"/>
                  <a:pt x="10473152" y="339491"/>
                </a:cubicBezTo>
                <a:lnTo>
                  <a:pt x="10483364" y="339491"/>
                </a:lnTo>
                <a:lnTo>
                  <a:pt x="10483364" y="322899"/>
                </a:lnTo>
                <a:lnTo>
                  <a:pt x="10482088" y="322899"/>
                </a:lnTo>
                <a:close/>
                <a:moveTo>
                  <a:pt x="10027732" y="322899"/>
                </a:moveTo>
                <a:lnTo>
                  <a:pt x="10062192" y="412238"/>
                </a:lnTo>
                <a:lnTo>
                  <a:pt x="10059640" y="417344"/>
                </a:lnTo>
                <a:cubicBezTo>
                  <a:pt x="10058362" y="418620"/>
                  <a:pt x="10057086" y="419896"/>
                  <a:pt x="10057086" y="421172"/>
                </a:cubicBezTo>
                <a:cubicBezTo>
                  <a:pt x="10055810" y="422449"/>
                  <a:pt x="10054534" y="422449"/>
                  <a:pt x="10051980" y="422449"/>
                </a:cubicBezTo>
                <a:lnTo>
                  <a:pt x="10036666" y="422449"/>
                </a:lnTo>
                <a:lnTo>
                  <a:pt x="10036666" y="439040"/>
                </a:lnTo>
                <a:lnTo>
                  <a:pt x="10054534" y="439040"/>
                </a:lnTo>
                <a:cubicBezTo>
                  <a:pt x="10060916" y="439040"/>
                  <a:pt x="10066020" y="437764"/>
                  <a:pt x="10068572" y="435211"/>
                </a:cubicBezTo>
                <a:cubicBezTo>
                  <a:pt x="10071124" y="432659"/>
                  <a:pt x="10073678" y="430106"/>
                  <a:pt x="10076232" y="425001"/>
                </a:cubicBezTo>
                <a:lnTo>
                  <a:pt x="10115796" y="322899"/>
                </a:lnTo>
                <a:lnTo>
                  <a:pt x="10095376" y="322899"/>
                </a:lnTo>
                <a:lnTo>
                  <a:pt x="10073678" y="384160"/>
                </a:lnTo>
                <a:lnTo>
                  <a:pt x="10069848" y="384160"/>
                </a:lnTo>
                <a:lnTo>
                  <a:pt x="10048152" y="322899"/>
                </a:lnTo>
                <a:close/>
                <a:moveTo>
                  <a:pt x="10716924" y="321623"/>
                </a:moveTo>
                <a:cubicBezTo>
                  <a:pt x="10709264" y="321623"/>
                  <a:pt x="10702884" y="322899"/>
                  <a:pt x="10697780" y="326728"/>
                </a:cubicBezTo>
                <a:cubicBezTo>
                  <a:pt x="10692674" y="330557"/>
                  <a:pt x="10687568" y="334385"/>
                  <a:pt x="10683740" y="340767"/>
                </a:cubicBezTo>
                <a:cubicBezTo>
                  <a:pt x="10679912" y="345872"/>
                  <a:pt x="10678636" y="354806"/>
                  <a:pt x="10678636" y="362464"/>
                </a:cubicBezTo>
                <a:lnTo>
                  <a:pt x="10678636" y="365016"/>
                </a:lnTo>
                <a:cubicBezTo>
                  <a:pt x="10678636" y="373950"/>
                  <a:pt x="10679912" y="381608"/>
                  <a:pt x="10683740" y="387989"/>
                </a:cubicBezTo>
                <a:cubicBezTo>
                  <a:pt x="10687568" y="394371"/>
                  <a:pt x="10691398" y="398199"/>
                  <a:pt x="10697780" y="402028"/>
                </a:cubicBezTo>
                <a:cubicBezTo>
                  <a:pt x="10702884" y="405857"/>
                  <a:pt x="10709264" y="407133"/>
                  <a:pt x="10716924" y="407133"/>
                </a:cubicBezTo>
                <a:cubicBezTo>
                  <a:pt x="10722028" y="407133"/>
                  <a:pt x="10727132" y="405857"/>
                  <a:pt x="10729686" y="404581"/>
                </a:cubicBezTo>
                <a:cubicBezTo>
                  <a:pt x="10733516" y="403305"/>
                  <a:pt x="10736068" y="402028"/>
                  <a:pt x="10738620" y="399476"/>
                </a:cubicBezTo>
                <a:cubicBezTo>
                  <a:pt x="10741172" y="396923"/>
                  <a:pt x="10742448" y="395647"/>
                  <a:pt x="10743724" y="394371"/>
                </a:cubicBezTo>
                <a:lnTo>
                  <a:pt x="10746278" y="394371"/>
                </a:lnTo>
                <a:lnTo>
                  <a:pt x="10746278" y="409686"/>
                </a:lnTo>
                <a:lnTo>
                  <a:pt x="10746278" y="410962"/>
                </a:lnTo>
                <a:cubicBezTo>
                  <a:pt x="10746278" y="418620"/>
                  <a:pt x="10741172" y="423725"/>
                  <a:pt x="10733516" y="423725"/>
                </a:cubicBezTo>
                <a:lnTo>
                  <a:pt x="10733516" y="422449"/>
                </a:lnTo>
                <a:lnTo>
                  <a:pt x="10692674" y="422449"/>
                </a:lnTo>
                <a:lnTo>
                  <a:pt x="10692674" y="439040"/>
                </a:lnTo>
                <a:lnTo>
                  <a:pt x="10737344" y="439040"/>
                </a:lnTo>
                <a:cubicBezTo>
                  <a:pt x="10751384" y="439040"/>
                  <a:pt x="10764146" y="426278"/>
                  <a:pt x="10764146" y="412238"/>
                </a:cubicBezTo>
                <a:lnTo>
                  <a:pt x="10764146" y="409686"/>
                </a:lnTo>
                <a:lnTo>
                  <a:pt x="10764146" y="394371"/>
                </a:lnTo>
                <a:lnTo>
                  <a:pt x="10764146" y="324175"/>
                </a:lnTo>
                <a:lnTo>
                  <a:pt x="10746278" y="324175"/>
                </a:lnTo>
                <a:lnTo>
                  <a:pt x="10746278" y="334385"/>
                </a:lnTo>
                <a:lnTo>
                  <a:pt x="10743724" y="334385"/>
                </a:lnTo>
                <a:cubicBezTo>
                  <a:pt x="10741172" y="330557"/>
                  <a:pt x="10738620" y="328004"/>
                  <a:pt x="10734792" y="325451"/>
                </a:cubicBezTo>
                <a:cubicBezTo>
                  <a:pt x="10730962" y="322899"/>
                  <a:pt x="10724580" y="321623"/>
                  <a:pt x="10716924" y="321623"/>
                </a:cubicBezTo>
                <a:close/>
                <a:moveTo>
                  <a:pt x="11210844" y="320346"/>
                </a:moveTo>
                <a:cubicBezTo>
                  <a:pt x="11203186" y="320346"/>
                  <a:pt x="11196804" y="321623"/>
                  <a:pt x="11191700" y="325451"/>
                </a:cubicBezTo>
                <a:cubicBezTo>
                  <a:pt x="11186594" y="329280"/>
                  <a:pt x="11181488" y="333109"/>
                  <a:pt x="11177660" y="339491"/>
                </a:cubicBezTo>
                <a:cubicBezTo>
                  <a:pt x="11175108" y="344596"/>
                  <a:pt x="11173832" y="353530"/>
                  <a:pt x="11173832" y="361187"/>
                </a:cubicBezTo>
                <a:lnTo>
                  <a:pt x="11173832" y="363740"/>
                </a:lnTo>
                <a:cubicBezTo>
                  <a:pt x="11173832" y="372674"/>
                  <a:pt x="11175108" y="380331"/>
                  <a:pt x="11178936" y="386713"/>
                </a:cubicBezTo>
                <a:cubicBezTo>
                  <a:pt x="11182766" y="393094"/>
                  <a:pt x="11186594" y="396923"/>
                  <a:pt x="11192976" y="400752"/>
                </a:cubicBezTo>
                <a:cubicBezTo>
                  <a:pt x="11198080" y="404581"/>
                  <a:pt x="11204462" y="405857"/>
                  <a:pt x="11212120" y="405857"/>
                </a:cubicBezTo>
                <a:cubicBezTo>
                  <a:pt x="11217224" y="405857"/>
                  <a:pt x="11222330" y="404581"/>
                  <a:pt x="11224884" y="403305"/>
                </a:cubicBezTo>
                <a:cubicBezTo>
                  <a:pt x="11228712" y="402028"/>
                  <a:pt x="11231264" y="400752"/>
                  <a:pt x="11233816" y="398199"/>
                </a:cubicBezTo>
                <a:cubicBezTo>
                  <a:pt x="11236368" y="395647"/>
                  <a:pt x="11237644" y="394371"/>
                  <a:pt x="11238920" y="393094"/>
                </a:cubicBezTo>
                <a:lnTo>
                  <a:pt x="11241474" y="393094"/>
                </a:lnTo>
                <a:lnTo>
                  <a:pt x="11241474" y="408410"/>
                </a:lnTo>
                <a:lnTo>
                  <a:pt x="11241474" y="409686"/>
                </a:lnTo>
                <a:cubicBezTo>
                  <a:pt x="11241474" y="417344"/>
                  <a:pt x="11236368" y="422449"/>
                  <a:pt x="11228712" y="422449"/>
                </a:cubicBezTo>
                <a:lnTo>
                  <a:pt x="11228712" y="421172"/>
                </a:lnTo>
                <a:lnTo>
                  <a:pt x="11187870" y="421172"/>
                </a:lnTo>
                <a:lnTo>
                  <a:pt x="11187870" y="437764"/>
                </a:lnTo>
                <a:lnTo>
                  <a:pt x="11231264" y="437764"/>
                </a:lnTo>
                <a:lnTo>
                  <a:pt x="11231264" y="439040"/>
                </a:lnTo>
                <a:cubicBezTo>
                  <a:pt x="11246580" y="439040"/>
                  <a:pt x="11259342" y="426278"/>
                  <a:pt x="11259342" y="410962"/>
                </a:cubicBezTo>
                <a:lnTo>
                  <a:pt x="11259342" y="408410"/>
                </a:lnTo>
                <a:lnTo>
                  <a:pt x="11259342" y="393094"/>
                </a:lnTo>
                <a:lnTo>
                  <a:pt x="11259342" y="322899"/>
                </a:lnTo>
                <a:lnTo>
                  <a:pt x="11241474" y="322899"/>
                </a:lnTo>
                <a:lnTo>
                  <a:pt x="11241474" y="333109"/>
                </a:lnTo>
                <a:lnTo>
                  <a:pt x="11237644" y="333109"/>
                </a:lnTo>
                <a:cubicBezTo>
                  <a:pt x="11235092" y="329280"/>
                  <a:pt x="11232540" y="326728"/>
                  <a:pt x="11228712" y="324175"/>
                </a:cubicBezTo>
                <a:cubicBezTo>
                  <a:pt x="11224884" y="321623"/>
                  <a:pt x="11218500" y="320346"/>
                  <a:pt x="11210844" y="320346"/>
                </a:cubicBezTo>
                <a:close/>
                <a:moveTo>
                  <a:pt x="11056412" y="320346"/>
                </a:moveTo>
                <a:cubicBezTo>
                  <a:pt x="11048756" y="320346"/>
                  <a:pt x="11041098" y="322899"/>
                  <a:pt x="11034716" y="325451"/>
                </a:cubicBezTo>
                <a:cubicBezTo>
                  <a:pt x="11028336" y="329280"/>
                  <a:pt x="11023232" y="334385"/>
                  <a:pt x="11019402" y="340767"/>
                </a:cubicBezTo>
                <a:cubicBezTo>
                  <a:pt x="11015572" y="347148"/>
                  <a:pt x="11014296" y="354806"/>
                  <a:pt x="11014296" y="363740"/>
                </a:cubicBezTo>
                <a:lnTo>
                  <a:pt x="11014296" y="366292"/>
                </a:lnTo>
                <a:cubicBezTo>
                  <a:pt x="11014296" y="375226"/>
                  <a:pt x="11015572" y="382884"/>
                  <a:pt x="11019402" y="389265"/>
                </a:cubicBezTo>
                <a:cubicBezTo>
                  <a:pt x="11023232" y="395647"/>
                  <a:pt x="11028336" y="400752"/>
                  <a:pt x="11034716" y="404581"/>
                </a:cubicBezTo>
                <a:cubicBezTo>
                  <a:pt x="11041098" y="408410"/>
                  <a:pt x="11048756" y="409686"/>
                  <a:pt x="11056412" y="409686"/>
                </a:cubicBezTo>
                <a:cubicBezTo>
                  <a:pt x="11064072" y="409686"/>
                  <a:pt x="11070452" y="408410"/>
                  <a:pt x="11074282" y="407133"/>
                </a:cubicBezTo>
                <a:cubicBezTo>
                  <a:pt x="11080664" y="403305"/>
                  <a:pt x="11085768" y="400752"/>
                  <a:pt x="11088320" y="396923"/>
                </a:cubicBezTo>
                <a:cubicBezTo>
                  <a:pt x="11092148" y="393094"/>
                  <a:pt x="11093426" y="389265"/>
                  <a:pt x="11095980" y="386713"/>
                </a:cubicBezTo>
                <a:lnTo>
                  <a:pt x="11081940" y="377779"/>
                </a:lnTo>
                <a:cubicBezTo>
                  <a:pt x="11079386" y="381608"/>
                  <a:pt x="11078110" y="384160"/>
                  <a:pt x="11074282" y="386713"/>
                </a:cubicBezTo>
                <a:cubicBezTo>
                  <a:pt x="11070452" y="389265"/>
                  <a:pt x="11066624" y="390542"/>
                  <a:pt x="11060242" y="390542"/>
                </a:cubicBezTo>
                <a:cubicBezTo>
                  <a:pt x="11053860" y="390542"/>
                  <a:pt x="11048756" y="387989"/>
                  <a:pt x="11043652" y="385437"/>
                </a:cubicBezTo>
                <a:cubicBezTo>
                  <a:pt x="11039822" y="381608"/>
                  <a:pt x="11035992" y="376503"/>
                  <a:pt x="11035992" y="370121"/>
                </a:cubicBezTo>
                <a:lnTo>
                  <a:pt x="11097256" y="370121"/>
                </a:lnTo>
                <a:lnTo>
                  <a:pt x="11097256" y="362464"/>
                </a:lnTo>
                <a:cubicBezTo>
                  <a:pt x="11097256" y="353530"/>
                  <a:pt x="11095980" y="347148"/>
                  <a:pt x="11092148" y="340767"/>
                </a:cubicBezTo>
                <a:cubicBezTo>
                  <a:pt x="11088320" y="334385"/>
                  <a:pt x="11083216" y="329280"/>
                  <a:pt x="11078110" y="325451"/>
                </a:cubicBezTo>
                <a:cubicBezTo>
                  <a:pt x="11071728" y="321623"/>
                  <a:pt x="11064072" y="320346"/>
                  <a:pt x="11056412" y="320346"/>
                </a:cubicBezTo>
                <a:close/>
                <a:moveTo>
                  <a:pt x="10372328" y="320346"/>
                </a:moveTo>
                <a:cubicBezTo>
                  <a:pt x="10364670" y="320346"/>
                  <a:pt x="10357012" y="322899"/>
                  <a:pt x="10350632" y="325451"/>
                </a:cubicBezTo>
                <a:cubicBezTo>
                  <a:pt x="10344248" y="329280"/>
                  <a:pt x="10339144" y="334385"/>
                  <a:pt x="10335316" y="340767"/>
                </a:cubicBezTo>
                <a:cubicBezTo>
                  <a:pt x="10331488" y="347148"/>
                  <a:pt x="10330212" y="354806"/>
                  <a:pt x="10330212" y="363740"/>
                </a:cubicBezTo>
                <a:lnTo>
                  <a:pt x="10330212" y="366292"/>
                </a:lnTo>
                <a:cubicBezTo>
                  <a:pt x="10334040" y="373950"/>
                  <a:pt x="10335316" y="381608"/>
                  <a:pt x="10337868" y="387989"/>
                </a:cubicBezTo>
                <a:cubicBezTo>
                  <a:pt x="10341696" y="394371"/>
                  <a:pt x="10346802" y="399476"/>
                  <a:pt x="10353184" y="403305"/>
                </a:cubicBezTo>
                <a:cubicBezTo>
                  <a:pt x="10359564" y="407133"/>
                  <a:pt x="10367222" y="408410"/>
                  <a:pt x="10374880" y="408410"/>
                </a:cubicBezTo>
                <a:cubicBezTo>
                  <a:pt x="10382538" y="408410"/>
                  <a:pt x="10388920" y="407133"/>
                  <a:pt x="10394024" y="405857"/>
                </a:cubicBezTo>
                <a:cubicBezTo>
                  <a:pt x="10397852" y="403305"/>
                  <a:pt x="10402958" y="400752"/>
                  <a:pt x="10405512" y="396923"/>
                </a:cubicBezTo>
                <a:cubicBezTo>
                  <a:pt x="10409340" y="393094"/>
                  <a:pt x="10410616" y="389265"/>
                  <a:pt x="10413168" y="386713"/>
                </a:cubicBezTo>
                <a:lnTo>
                  <a:pt x="10397852" y="377779"/>
                </a:lnTo>
                <a:cubicBezTo>
                  <a:pt x="10395300" y="381608"/>
                  <a:pt x="10394024" y="384160"/>
                  <a:pt x="10390196" y="386713"/>
                </a:cubicBezTo>
                <a:cubicBezTo>
                  <a:pt x="10386366" y="389265"/>
                  <a:pt x="10382538" y="390542"/>
                  <a:pt x="10376156" y="390542"/>
                </a:cubicBezTo>
                <a:cubicBezTo>
                  <a:pt x="10369776" y="390542"/>
                  <a:pt x="10364670" y="387989"/>
                  <a:pt x="10359564" y="385437"/>
                </a:cubicBezTo>
                <a:cubicBezTo>
                  <a:pt x="10355736" y="381608"/>
                  <a:pt x="10351908" y="376503"/>
                  <a:pt x="10351908" y="370121"/>
                </a:cubicBezTo>
                <a:lnTo>
                  <a:pt x="10413168" y="370121"/>
                </a:lnTo>
                <a:lnTo>
                  <a:pt x="10413168" y="362464"/>
                </a:lnTo>
                <a:cubicBezTo>
                  <a:pt x="10413168" y="353530"/>
                  <a:pt x="10411892" y="347148"/>
                  <a:pt x="10408064" y="340767"/>
                </a:cubicBezTo>
                <a:cubicBezTo>
                  <a:pt x="10404236" y="334385"/>
                  <a:pt x="10399128" y="329280"/>
                  <a:pt x="10394024" y="325451"/>
                </a:cubicBezTo>
                <a:cubicBezTo>
                  <a:pt x="10387644" y="321623"/>
                  <a:pt x="10379984" y="320346"/>
                  <a:pt x="10372328" y="320346"/>
                </a:cubicBezTo>
                <a:close/>
                <a:moveTo>
                  <a:pt x="10267672" y="320346"/>
                </a:moveTo>
                <a:cubicBezTo>
                  <a:pt x="10260016" y="320346"/>
                  <a:pt x="10253634" y="321623"/>
                  <a:pt x="10248528" y="325451"/>
                </a:cubicBezTo>
                <a:cubicBezTo>
                  <a:pt x="10243424" y="329280"/>
                  <a:pt x="10238318" y="333109"/>
                  <a:pt x="10234490" y="339491"/>
                </a:cubicBezTo>
                <a:cubicBezTo>
                  <a:pt x="10231936" y="344596"/>
                  <a:pt x="10229384" y="353530"/>
                  <a:pt x="10229384" y="361187"/>
                </a:cubicBezTo>
                <a:lnTo>
                  <a:pt x="10229384" y="363740"/>
                </a:lnTo>
                <a:cubicBezTo>
                  <a:pt x="10229384" y="372674"/>
                  <a:pt x="10230660" y="380331"/>
                  <a:pt x="10234490" y="386713"/>
                </a:cubicBezTo>
                <a:cubicBezTo>
                  <a:pt x="10238318" y="393094"/>
                  <a:pt x="10242148" y="396923"/>
                  <a:pt x="10248528" y="400752"/>
                </a:cubicBezTo>
                <a:cubicBezTo>
                  <a:pt x="10253634" y="404581"/>
                  <a:pt x="10260016" y="405857"/>
                  <a:pt x="10267672" y="405857"/>
                </a:cubicBezTo>
                <a:cubicBezTo>
                  <a:pt x="10272778" y="405857"/>
                  <a:pt x="10277884" y="404581"/>
                  <a:pt x="10280436" y="403305"/>
                </a:cubicBezTo>
                <a:cubicBezTo>
                  <a:pt x="10284264" y="402028"/>
                  <a:pt x="10286816" y="400752"/>
                  <a:pt x="10289370" y="398199"/>
                </a:cubicBezTo>
                <a:cubicBezTo>
                  <a:pt x="10291922" y="395647"/>
                  <a:pt x="10293198" y="394371"/>
                  <a:pt x="10294474" y="393094"/>
                </a:cubicBezTo>
                <a:lnTo>
                  <a:pt x="10297028" y="393094"/>
                </a:lnTo>
                <a:lnTo>
                  <a:pt x="10297028" y="408410"/>
                </a:lnTo>
                <a:lnTo>
                  <a:pt x="10297028" y="409686"/>
                </a:lnTo>
                <a:cubicBezTo>
                  <a:pt x="10297028" y="417344"/>
                  <a:pt x="10291922" y="422449"/>
                  <a:pt x="10284264" y="422449"/>
                </a:cubicBezTo>
                <a:lnTo>
                  <a:pt x="10284264" y="421172"/>
                </a:lnTo>
                <a:lnTo>
                  <a:pt x="10243424" y="421172"/>
                </a:lnTo>
                <a:lnTo>
                  <a:pt x="10243424" y="437764"/>
                </a:lnTo>
                <a:lnTo>
                  <a:pt x="10286816" y="437764"/>
                </a:lnTo>
                <a:lnTo>
                  <a:pt x="10286816" y="439040"/>
                </a:lnTo>
                <a:cubicBezTo>
                  <a:pt x="10302132" y="439040"/>
                  <a:pt x="10314896" y="426278"/>
                  <a:pt x="10314896" y="410962"/>
                </a:cubicBezTo>
                <a:lnTo>
                  <a:pt x="10314896" y="408410"/>
                </a:lnTo>
                <a:lnTo>
                  <a:pt x="10314896" y="393094"/>
                </a:lnTo>
                <a:lnTo>
                  <a:pt x="10314896" y="322899"/>
                </a:lnTo>
                <a:lnTo>
                  <a:pt x="10297028" y="322899"/>
                </a:lnTo>
                <a:lnTo>
                  <a:pt x="10297028" y="333109"/>
                </a:lnTo>
                <a:lnTo>
                  <a:pt x="10294474" y="333109"/>
                </a:lnTo>
                <a:cubicBezTo>
                  <a:pt x="10291922" y="329280"/>
                  <a:pt x="10289370" y="326728"/>
                  <a:pt x="10285540" y="324175"/>
                </a:cubicBezTo>
                <a:cubicBezTo>
                  <a:pt x="10281712" y="321623"/>
                  <a:pt x="10275330" y="320346"/>
                  <a:pt x="10267672" y="320346"/>
                </a:cubicBezTo>
                <a:close/>
                <a:moveTo>
                  <a:pt x="10618650" y="319070"/>
                </a:moveTo>
                <a:cubicBezTo>
                  <a:pt x="10610992" y="319070"/>
                  <a:pt x="10603334" y="320346"/>
                  <a:pt x="10596952" y="324175"/>
                </a:cubicBezTo>
                <a:cubicBezTo>
                  <a:pt x="10590572" y="328004"/>
                  <a:pt x="10585468" y="333109"/>
                  <a:pt x="10581636" y="339491"/>
                </a:cubicBezTo>
                <a:cubicBezTo>
                  <a:pt x="10577808" y="345872"/>
                  <a:pt x="10576532" y="353530"/>
                  <a:pt x="10576532" y="362464"/>
                </a:cubicBezTo>
                <a:lnTo>
                  <a:pt x="10576532" y="365016"/>
                </a:lnTo>
                <a:cubicBezTo>
                  <a:pt x="10576532" y="373950"/>
                  <a:pt x="10579084" y="381608"/>
                  <a:pt x="10581636" y="387989"/>
                </a:cubicBezTo>
                <a:cubicBezTo>
                  <a:pt x="10585468" y="394371"/>
                  <a:pt x="10590572" y="399476"/>
                  <a:pt x="10596952" y="403305"/>
                </a:cubicBezTo>
                <a:cubicBezTo>
                  <a:pt x="10603334" y="407133"/>
                  <a:pt x="10610992" y="408410"/>
                  <a:pt x="10618650" y="408410"/>
                </a:cubicBezTo>
                <a:cubicBezTo>
                  <a:pt x="10627584" y="408410"/>
                  <a:pt x="10633964" y="407133"/>
                  <a:pt x="10640348" y="403305"/>
                </a:cubicBezTo>
                <a:cubicBezTo>
                  <a:pt x="10648004" y="399476"/>
                  <a:pt x="10653108" y="394371"/>
                  <a:pt x="10655662" y="387989"/>
                </a:cubicBezTo>
                <a:cubicBezTo>
                  <a:pt x="10659492" y="381608"/>
                  <a:pt x="10660768" y="373950"/>
                  <a:pt x="10660768" y="365016"/>
                </a:cubicBezTo>
                <a:lnTo>
                  <a:pt x="10660768" y="362464"/>
                </a:lnTo>
                <a:cubicBezTo>
                  <a:pt x="10660768" y="353530"/>
                  <a:pt x="10658214" y="345872"/>
                  <a:pt x="10655662" y="339491"/>
                </a:cubicBezTo>
                <a:cubicBezTo>
                  <a:pt x="10651832" y="333109"/>
                  <a:pt x="10646728" y="328004"/>
                  <a:pt x="10640348" y="324175"/>
                </a:cubicBezTo>
                <a:cubicBezTo>
                  <a:pt x="10633964" y="320346"/>
                  <a:pt x="10626308" y="319070"/>
                  <a:pt x="10618650" y="319070"/>
                </a:cubicBezTo>
                <a:close/>
                <a:moveTo>
                  <a:pt x="10163016" y="319070"/>
                </a:moveTo>
                <a:cubicBezTo>
                  <a:pt x="10155360" y="319070"/>
                  <a:pt x="10148980" y="320346"/>
                  <a:pt x="10143872" y="324175"/>
                </a:cubicBezTo>
                <a:cubicBezTo>
                  <a:pt x="10138768" y="328004"/>
                  <a:pt x="10133664" y="331833"/>
                  <a:pt x="10129836" y="338214"/>
                </a:cubicBezTo>
                <a:cubicBezTo>
                  <a:pt x="10126006" y="344596"/>
                  <a:pt x="10124728" y="352253"/>
                  <a:pt x="10124728" y="361187"/>
                </a:cubicBezTo>
                <a:lnTo>
                  <a:pt x="10124728" y="365016"/>
                </a:lnTo>
                <a:lnTo>
                  <a:pt x="10123452" y="365016"/>
                </a:lnTo>
                <a:cubicBezTo>
                  <a:pt x="10123452" y="373950"/>
                  <a:pt x="10124728" y="381608"/>
                  <a:pt x="10128558" y="387989"/>
                </a:cubicBezTo>
                <a:cubicBezTo>
                  <a:pt x="10132388" y="394371"/>
                  <a:pt x="10136216" y="398199"/>
                  <a:pt x="10142596" y="402028"/>
                </a:cubicBezTo>
                <a:cubicBezTo>
                  <a:pt x="10147702" y="405857"/>
                  <a:pt x="10154084" y="407133"/>
                  <a:pt x="10161742" y="407133"/>
                </a:cubicBezTo>
                <a:cubicBezTo>
                  <a:pt x="10166846" y="407133"/>
                  <a:pt x="10171952" y="405857"/>
                  <a:pt x="10174504" y="404581"/>
                </a:cubicBezTo>
                <a:cubicBezTo>
                  <a:pt x="10178332" y="403305"/>
                  <a:pt x="10180886" y="402028"/>
                  <a:pt x="10183438" y="399476"/>
                </a:cubicBezTo>
                <a:cubicBezTo>
                  <a:pt x="10185990" y="396923"/>
                  <a:pt x="10187268" y="395647"/>
                  <a:pt x="10188544" y="394371"/>
                </a:cubicBezTo>
                <a:lnTo>
                  <a:pt x="10191096" y="394371"/>
                </a:lnTo>
                <a:lnTo>
                  <a:pt x="10191096" y="409686"/>
                </a:lnTo>
                <a:cubicBezTo>
                  <a:pt x="10191096" y="417344"/>
                  <a:pt x="10185990" y="422449"/>
                  <a:pt x="10178332" y="422449"/>
                </a:cubicBezTo>
                <a:lnTo>
                  <a:pt x="10178332" y="421172"/>
                </a:lnTo>
                <a:lnTo>
                  <a:pt x="10137492" y="421172"/>
                </a:lnTo>
                <a:lnTo>
                  <a:pt x="10137492" y="437764"/>
                </a:lnTo>
                <a:lnTo>
                  <a:pt x="10182162" y="437764"/>
                </a:lnTo>
                <a:cubicBezTo>
                  <a:pt x="10197476" y="437764"/>
                  <a:pt x="10208964" y="425001"/>
                  <a:pt x="10210240" y="410962"/>
                </a:cubicBezTo>
                <a:lnTo>
                  <a:pt x="10210240" y="409686"/>
                </a:lnTo>
                <a:lnTo>
                  <a:pt x="10210240" y="391818"/>
                </a:lnTo>
                <a:lnTo>
                  <a:pt x="10210240" y="321623"/>
                </a:lnTo>
                <a:lnTo>
                  <a:pt x="10192372" y="321623"/>
                </a:lnTo>
                <a:lnTo>
                  <a:pt x="10192372" y="331833"/>
                </a:lnTo>
                <a:lnTo>
                  <a:pt x="10189820" y="331833"/>
                </a:lnTo>
                <a:cubicBezTo>
                  <a:pt x="10187268" y="328004"/>
                  <a:pt x="10184714" y="325451"/>
                  <a:pt x="10180886" y="322899"/>
                </a:cubicBezTo>
                <a:cubicBezTo>
                  <a:pt x="10177056" y="320346"/>
                  <a:pt x="10170676" y="319070"/>
                  <a:pt x="10163016" y="319070"/>
                </a:cubicBezTo>
                <a:close/>
                <a:moveTo>
                  <a:pt x="9951156" y="307584"/>
                </a:moveTo>
                <a:lnTo>
                  <a:pt x="9980510" y="307584"/>
                </a:lnTo>
                <a:cubicBezTo>
                  <a:pt x="9985616" y="307584"/>
                  <a:pt x="9990720" y="308860"/>
                  <a:pt x="9993272" y="311412"/>
                </a:cubicBezTo>
                <a:cubicBezTo>
                  <a:pt x="9997100" y="313965"/>
                  <a:pt x="9998378" y="317794"/>
                  <a:pt x="9998378" y="321623"/>
                </a:cubicBezTo>
                <a:lnTo>
                  <a:pt x="9998378" y="322899"/>
                </a:lnTo>
                <a:cubicBezTo>
                  <a:pt x="9998378" y="326728"/>
                  <a:pt x="9997100" y="330557"/>
                  <a:pt x="9993272" y="333109"/>
                </a:cubicBezTo>
                <a:cubicBezTo>
                  <a:pt x="9989444" y="335662"/>
                  <a:pt x="9985616" y="336938"/>
                  <a:pt x="9980510" y="336938"/>
                </a:cubicBezTo>
                <a:lnTo>
                  <a:pt x="9951156" y="336938"/>
                </a:lnTo>
                <a:close/>
                <a:moveTo>
                  <a:pt x="10827960" y="289716"/>
                </a:moveTo>
                <a:lnTo>
                  <a:pt x="10827960" y="407133"/>
                </a:lnTo>
                <a:lnTo>
                  <a:pt x="10827960" y="408410"/>
                </a:lnTo>
                <a:lnTo>
                  <a:pt x="10903260" y="408410"/>
                </a:lnTo>
                <a:lnTo>
                  <a:pt x="10903260" y="387989"/>
                </a:lnTo>
                <a:lnTo>
                  <a:pt x="10901984" y="387989"/>
                </a:lnTo>
                <a:lnTo>
                  <a:pt x="10847104" y="387989"/>
                </a:lnTo>
                <a:lnTo>
                  <a:pt x="10847104" y="356082"/>
                </a:lnTo>
                <a:lnTo>
                  <a:pt x="10896878" y="356082"/>
                </a:lnTo>
                <a:lnTo>
                  <a:pt x="10896878" y="338214"/>
                </a:lnTo>
                <a:lnTo>
                  <a:pt x="10847104" y="338214"/>
                </a:lnTo>
                <a:lnTo>
                  <a:pt x="10847104" y="307584"/>
                </a:lnTo>
                <a:lnTo>
                  <a:pt x="10901984" y="307584"/>
                </a:lnTo>
                <a:lnTo>
                  <a:pt x="10901984" y="289716"/>
                </a:lnTo>
                <a:close/>
                <a:moveTo>
                  <a:pt x="9932012" y="288439"/>
                </a:moveTo>
                <a:lnTo>
                  <a:pt x="9932012" y="404581"/>
                </a:lnTo>
                <a:lnTo>
                  <a:pt x="9984338" y="404581"/>
                </a:lnTo>
                <a:cubicBezTo>
                  <a:pt x="9990720" y="404581"/>
                  <a:pt x="9997100" y="403305"/>
                  <a:pt x="10002208" y="400752"/>
                </a:cubicBezTo>
                <a:cubicBezTo>
                  <a:pt x="10007312" y="398199"/>
                  <a:pt x="10012416" y="394371"/>
                  <a:pt x="10014968" y="390542"/>
                </a:cubicBezTo>
                <a:cubicBezTo>
                  <a:pt x="10017522" y="386713"/>
                  <a:pt x="10018798" y="380331"/>
                  <a:pt x="10018798" y="373950"/>
                </a:cubicBezTo>
                <a:lnTo>
                  <a:pt x="10018798" y="372674"/>
                </a:lnTo>
                <a:cubicBezTo>
                  <a:pt x="10018798" y="367569"/>
                  <a:pt x="10017522" y="362464"/>
                  <a:pt x="10016244" y="358635"/>
                </a:cubicBezTo>
                <a:cubicBezTo>
                  <a:pt x="10014968" y="354806"/>
                  <a:pt x="10012416" y="353530"/>
                  <a:pt x="10008588" y="350977"/>
                </a:cubicBezTo>
                <a:cubicBezTo>
                  <a:pt x="10004760" y="349701"/>
                  <a:pt x="10003482" y="348424"/>
                  <a:pt x="9999654" y="347148"/>
                </a:cubicBezTo>
                <a:lnTo>
                  <a:pt x="9999654" y="344596"/>
                </a:lnTo>
                <a:cubicBezTo>
                  <a:pt x="10002208" y="343319"/>
                  <a:pt x="10004760" y="342043"/>
                  <a:pt x="10007312" y="340767"/>
                </a:cubicBezTo>
                <a:cubicBezTo>
                  <a:pt x="10009864" y="339491"/>
                  <a:pt x="10012416" y="336938"/>
                  <a:pt x="10014968" y="333109"/>
                </a:cubicBezTo>
                <a:cubicBezTo>
                  <a:pt x="10017522" y="329280"/>
                  <a:pt x="10017522" y="325451"/>
                  <a:pt x="10017522" y="319070"/>
                </a:cubicBezTo>
                <a:lnTo>
                  <a:pt x="10017522" y="317794"/>
                </a:lnTo>
                <a:cubicBezTo>
                  <a:pt x="10017522" y="312689"/>
                  <a:pt x="10016244" y="306307"/>
                  <a:pt x="10013692" y="302478"/>
                </a:cubicBezTo>
                <a:cubicBezTo>
                  <a:pt x="10011140" y="298650"/>
                  <a:pt x="10007312" y="294821"/>
                  <a:pt x="10002208" y="292268"/>
                </a:cubicBezTo>
                <a:cubicBezTo>
                  <a:pt x="9997100" y="289716"/>
                  <a:pt x="9990720" y="288439"/>
                  <a:pt x="9984338" y="288439"/>
                </a:cubicBezTo>
                <a:close/>
                <a:moveTo>
                  <a:pt x="11291248" y="287163"/>
                </a:moveTo>
                <a:cubicBezTo>
                  <a:pt x="11287420" y="287163"/>
                  <a:pt x="11284868" y="288439"/>
                  <a:pt x="11282316" y="290992"/>
                </a:cubicBezTo>
                <a:cubicBezTo>
                  <a:pt x="11279762" y="293544"/>
                  <a:pt x="11278488" y="296097"/>
                  <a:pt x="11278488" y="299926"/>
                </a:cubicBezTo>
                <a:cubicBezTo>
                  <a:pt x="11278488" y="303755"/>
                  <a:pt x="11279762" y="307584"/>
                  <a:pt x="11282316" y="308860"/>
                </a:cubicBezTo>
                <a:cubicBezTo>
                  <a:pt x="11284868" y="311412"/>
                  <a:pt x="11287420" y="312689"/>
                  <a:pt x="11291248" y="312689"/>
                </a:cubicBezTo>
                <a:cubicBezTo>
                  <a:pt x="11295078" y="312689"/>
                  <a:pt x="11298908" y="311412"/>
                  <a:pt x="11300184" y="308860"/>
                </a:cubicBezTo>
                <a:cubicBezTo>
                  <a:pt x="11301460" y="306307"/>
                  <a:pt x="11304012" y="305031"/>
                  <a:pt x="11304012" y="299926"/>
                </a:cubicBezTo>
                <a:cubicBezTo>
                  <a:pt x="11304012" y="296097"/>
                  <a:pt x="11302736" y="292268"/>
                  <a:pt x="11300184" y="290992"/>
                </a:cubicBezTo>
                <a:cubicBezTo>
                  <a:pt x="11297632" y="288439"/>
                  <a:pt x="11295078" y="287163"/>
                  <a:pt x="11291248" y="287163"/>
                </a:cubicBezTo>
                <a:close/>
                <a:moveTo>
                  <a:pt x="10506336" y="287163"/>
                </a:moveTo>
                <a:cubicBezTo>
                  <a:pt x="10502508" y="287163"/>
                  <a:pt x="10499956" y="288439"/>
                  <a:pt x="10497404" y="290992"/>
                </a:cubicBezTo>
                <a:cubicBezTo>
                  <a:pt x="10494850" y="293544"/>
                  <a:pt x="10493574" y="296097"/>
                  <a:pt x="10493574" y="299926"/>
                </a:cubicBezTo>
                <a:cubicBezTo>
                  <a:pt x="10493574" y="303755"/>
                  <a:pt x="10494850" y="307584"/>
                  <a:pt x="10497404" y="308860"/>
                </a:cubicBezTo>
                <a:cubicBezTo>
                  <a:pt x="10499956" y="311412"/>
                  <a:pt x="10502508" y="312689"/>
                  <a:pt x="10506336" y="312689"/>
                </a:cubicBezTo>
                <a:cubicBezTo>
                  <a:pt x="10510166" y="312689"/>
                  <a:pt x="10512720" y="311412"/>
                  <a:pt x="10515272" y="308860"/>
                </a:cubicBezTo>
                <a:cubicBezTo>
                  <a:pt x="10517824" y="306307"/>
                  <a:pt x="10519100" y="303755"/>
                  <a:pt x="10519100" y="299926"/>
                </a:cubicBezTo>
                <a:cubicBezTo>
                  <a:pt x="10519100" y="296097"/>
                  <a:pt x="10517824" y="292268"/>
                  <a:pt x="10515272" y="290992"/>
                </a:cubicBezTo>
                <a:cubicBezTo>
                  <a:pt x="10512720" y="288439"/>
                  <a:pt x="10510166" y="287163"/>
                  <a:pt x="10506336" y="287163"/>
                </a:cubicBezTo>
                <a:close/>
                <a:moveTo>
                  <a:pt x="9646124" y="252703"/>
                </a:moveTo>
                <a:lnTo>
                  <a:pt x="9706108" y="335662"/>
                </a:lnTo>
                <a:lnTo>
                  <a:pt x="9804384" y="395647"/>
                </a:lnTo>
                <a:lnTo>
                  <a:pt x="9744398" y="312689"/>
                </a:lnTo>
                <a:close/>
                <a:moveTo>
                  <a:pt x="9629532" y="245046"/>
                </a:moveTo>
                <a:lnTo>
                  <a:pt x="9519772" y="338214"/>
                </a:lnTo>
                <a:lnTo>
                  <a:pt x="9587416" y="432659"/>
                </a:lnTo>
                <a:lnTo>
                  <a:pt x="9697176" y="339491"/>
                </a:lnTo>
                <a:close/>
                <a:moveTo>
                  <a:pt x="0" y="0"/>
                </a:moveTo>
                <a:lnTo>
                  <a:pt x="12252288" y="0"/>
                </a:lnTo>
                <a:lnTo>
                  <a:pt x="12252288" y="6891912"/>
                </a:lnTo>
                <a:lnTo>
                  <a:pt x="0" y="68919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>
            <a:noAutofit/>
          </a:bodyPr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520416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US" sz="10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chemeClr val="bg2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 i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6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F5E8B261-EC29-2FF5-230F-CD67CBFA525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12B6961-5EA8-E9BC-5B7F-7BAD5313E8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C9619D95-756E-2554-AEB2-852794E4C7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8576683" cy="324000"/>
          </a:xfrm>
        </p:spPr>
        <p:txBody>
          <a:bodyPr/>
          <a:lstStyle>
            <a:lvl1pPr marL="0" indent="0">
              <a:buNone/>
              <a:defRPr sz="1400" b="0" cap="all" baseline="0"/>
            </a:lvl1pPr>
          </a:lstStyle>
          <a:p>
            <a:pPr lvl="0"/>
            <a:r>
              <a:rPr lang="en-US"/>
              <a:t>Click to add trump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6918F3-6844-58AA-A286-C5C8E4270A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AD77BD1A-EDF3-E6CF-F6A6-697E25248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8576683" cy="324000"/>
          </a:xfrm>
        </p:spPr>
        <p:txBody>
          <a:bodyPr/>
          <a:lstStyle>
            <a:lvl1pPr marL="0" indent="0">
              <a:buNone/>
              <a:defRPr sz="1400" b="0" cap="all" baseline="0"/>
            </a:lvl1pPr>
          </a:lstStyle>
          <a:p>
            <a:pPr lvl="0"/>
            <a:r>
              <a:rPr lang="en-US"/>
              <a:t>Click to add trump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6918F3-6844-58AA-A286-C5C8E4270A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8125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76543ACB-F072-446F-EB7A-F6C8148B8D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8576683" cy="324000"/>
          </a:xfrm>
        </p:spPr>
        <p:txBody>
          <a:bodyPr/>
          <a:lstStyle>
            <a:lvl1pPr marL="0" indent="0">
              <a:buNone/>
              <a:defRPr sz="1400" b="0" cap="all" baseline="0"/>
            </a:lvl1pPr>
          </a:lstStyle>
          <a:p>
            <a:pPr lvl="0"/>
            <a:r>
              <a:rPr lang="en-US"/>
              <a:t>Click to add trump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6918F3-6844-58AA-A286-C5C8E4270A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4974A8C-E0AB-D312-BAA9-13E8BE749CC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9D8C4205-0FF5-7B23-BF8C-733D7EBDC4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E0895B0F-24CF-A234-808C-7E4F28AC2D4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2520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D7839217-9B9A-62EA-BB0F-73B4E47FD7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8576683" cy="324000"/>
          </a:xfrm>
        </p:spPr>
        <p:txBody>
          <a:bodyPr/>
          <a:lstStyle>
            <a:lvl1pPr marL="0" indent="0">
              <a:buNone/>
              <a:defRPr sz="1400" b="0" cap="all" baseline="0"/>
            </a:lvl1pPr>
          </a:lstStyle>
          <a:p>
            <a:pPr lvl="0"/>
            <a:r>
              <a:rPr lang="en-US"/>
              <a:t>Click to add trumpe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D6918F3-6844-58AA-A286-C5C8E4270A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F5377-336E-6023-EFF8-681699F00C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FCC8A7D-5699-2013-DB90-7E41CEC6BC6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067F510A-4590-E882-459B-7988960D8AE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22820499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B4256A5C-CB7D-D5BA-C7DE-F91782BF26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37D3AE8-A185-58FB-6ED2-4CA0483A92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D1C5879D-D93B-D27E-82D8-0690411DA8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lnSpc>
                <a:spcPct val="110000"/>
              </a:lnSpc>
              <a:defRPr sz="1600"/>
            </a:lvl1pPr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 sz="1400"/>
            </a:lvl3pPr>
            <a:lvl4pPr>
              <a:lnSpc>
                <a:spcPct val="110000"/>
              </a:lnSpc>
              <a:defRPr sz="1400"/>
            </a:lvl4pPr>
            <a:lvl5pPr>
              <a:lnSpc>
                <a:spcPct val="110000"/>
              </a:lnSpc>
              <a:defRPr sz="1400"/>
            </a:lvl5pPr>
            <a:lvl6pPr>
              <a:lnSpc>
                <a:spcPct val="110000"/>
              </a:lnSpc>
              <a:defRPr/>
            </a:lvl6pPr>
            <a:lvl7pPr>
              <a:lnSpc>
                <a:spcPct val="110000"/>
              </a:lnSpc>
              <a:defRPr/>
            </a:lvl7pPr>
            <a:lvl8pPr>
              <a:lnSpc>
                <a:spcPct val="110000"/>
              </a:lnSpc>
              <a:defRPr sz="600"/>
            </a:lvl8pPr>
            <a:lvl9pPr>
              <a:lnSpc>
                <a:spcPct val="110000"/>
              </a:lnSpc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ED90EE0-E342-6452-AB23-88CDFED025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6325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E43F04E8-67E6-0EE3-4415-BFAD278E23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C7C6706-7C38-27EE-DF0A-3E4451FC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3736DD6-3C97-DA91-1FDA-79C2E0F815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F594087-BF39-36E4-6B5D-AAE80A42E2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0A4962-27AB-F0E0-FE9F-1602505C3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69618" y="237415"/>
            <a:ext cx="2472075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and insert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picture tex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C3E26EA-8EFD-8F21-7415-5B3BF6DEB7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and insert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picture tex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D38E373-1400-379D-E80F-5AE4F71C9D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picture tex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085F89-9235-6DAF-FB08-0123F7B478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and insert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picture tex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707312A-9FBD-E84C-F0BD-CD46A390C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5261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17B6E92-30A5-CBE1-61DF-22DD14CEE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C841DC5-6FDA-B0E5-818B-C6F08337E1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ED90EE0-E342-6452-AB23-88CDFED025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 b="1" i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7A92D14-F3BD-CE06-2A7B-87FE73B783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48A953E-9ABE-0DD0-0903-4BD91BB3A4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4107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 i="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5138777-C469-4AA4-00FA-4715C5A91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303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 b="1" i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IBM Plex Sans" panose="020B050305020300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1E4501D4-80DD-6712-25F4-A6D515CAB8F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9045CBF-3B0C-6562-A416-EA73CF53F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noProof="0"/>
              <a:t>Click to add title</a:t>
            </a:r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4BF3262-8164-F9C8-B3D8-7378419ACC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 sz="1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A0275EB-5C83-93F1-A49E-FA704B6094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2579096" y="2778885"/>
            <a:ext cx="7107655" cy="103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sz="10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 sz="10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F6485F-F03E-FBF9-7061-094F39856B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79096" y="2778884"/>
            <a:ext cx="7107655" cy="103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IBM Plex Sans" panose="020B0503050203000203" pitchFamily="34" charset="0"/>
                <a:cs typeface="Arial" panose="020B0604020202020204" pitchFamily="34" charset="0"/>
              </a:rPr>
              <a:t>PICTURES</a:t>
            </a:r>
            <a:br>
              <a:rPr lang="en-US" sz="900"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IBM Plex Sans" panose="020B0503050203000203" pitchFamily="34" charset="0"/>
                <a:cs typeface="Arial" panose="020B0604020202020204" pitchFamily="34" charset="0"/>
              </a:rPr>
              <a:t>TEXT STYLES</a:t>
            </a:r>
            <a:endParaRPr lang="en-US" altLang="da-DK" sz="1600" b="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sz="1600">
                <a:latin typeface="IBM Plex Sans" panose="020B0503050203000203" pitchFamily="34" charset="0"/>
                <a:cs typeface="Arial" panose="020B0604020202020204" pitchFamily="34" charset="0"/>
              </a:rPr>
              <a:t>SLIDES &amp; LAYOUTS</a:t>
            </a:r>
            <a:b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rgbClr val="000000"/>
                </a:solidFill>
                <a:latin typeface="IBM Plex Sans" panose="020B0503050203000203" pitchFamily="34" charset="0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>
                <a:solidFill>
                  <a:srgbClr val="000000"/>
                </a:solidFill>
                <a:latin typeface="IBM Plex Sans" panose="020B0503050203000203" pitchFamily="34" charset="0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>
                <a:solidFill>
                  <a:srgbClr val="000000"/>
                </a:solidFill>
                <a:latin typeface="IBM Plex Sans" panose="020B0503050203000203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>
                <a:solidFill>
                  <a:srgbClr val="000000"/>
                </a:solidFill>
                <a:latin typeface="IBM Plex Sans" panose="020B0503050203000203" pitchFamily="34" charset="0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US" altLang="da-DK" sz="90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4412" y="2047070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10433" y="285681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23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IBM Plex Sans" panose="020B0503050203000203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latin typeface="IBM Plex Sans" panose="020B0503050203000203" pitchFamily="34" charset="0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View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Guides</a:t>
            </a:r>
            <a:endParaRPr lang="en-US" altLang="da-DK" sz="900" b="0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HINT: Alt + F9 </a:t>
            </a:r>
            <a:r>
              <a:rPr lang="en-US" altLang="da-DK" sz="900" b="0" noProof="1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for quick view of guides</a:t>
            </a:r>
            <a:endParaRPr lang="en-US" altLang="da-DK" sz="900" b="1" noProof="1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3200" b="1" i="0" noProof="1">
                <a:solidFill>
                  <a:schemeClr val="tx1"/>
                </a:solidFill>
                <a:latin typeface="IBM Plex Sans SemiBold" panose="020B0503050203000203" pitchFamily="34" charset="0"/>
                <a:cs typeface="Space Grotesk" pitchFamily="2" charset="77"/>
              </a:rPr>
              <a:t>TIPS &amp; TRICKS - YOUR USER GUID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 b="1" i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and insert picture</a:t>
            </a:r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6031507D-6644-A3B6-BBED-4B812C95A40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13C41A6-846A-506E-FECF-08CA2E3580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0390AE4-85F4-9839-4AF3-6A4FF1AFCF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69618" y="237415"/>
            <a:ext cx="2472075" cy="35991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7905E00-2826-97FA-A2AD-BE5F792B57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1866122"/>
            <a:ext cx="7215840" cy="4343878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342900" indent="-3429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3pPr>
            <a:lvl4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>
                <a:solidFill>
                  <a:schemeClr val="bg1"/>
                </a:solidFill>
              </a:defRPr>
            </a:lvl4pPr>
            <a:lvl5pPr marL="342900" indent="-3429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5pPr>
            <a:lvl6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5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DA9A1BD-BA1D-512E-CE6B-DA4A2FE5C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b="1" i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Billede 7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43C66558-8F63-6D19-3E4C-FBF3F87832E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1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2603"/>
            <a:ext cx="12191999" cy="3965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6" name="Billede 5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E3C0B4B4-50D8-E1EC-A881-7941512F85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893650"/>
            <a:ext cx="12188779" cy="396435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342900" indent="-3429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3pPr>
            <a:lvl4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4pPr>
            <a:lvl5pPr marL="342900" indent="-3429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5pPr>
            <a:lvl6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01 Agenda point</a:t>
            </a:r>
          </a:p>
          <a:p>
            <a:pPr lvl="5"/>
            <a:r>
              <a:rPr lang="en-US" noProof="0"/>
              <a:t>Second level</a:t>
            </a:r>
          </a:p>
          <a:p>
            <a:pPr lvl="3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lvl="7"/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97129AA5-5F6C-4D56-9FE7-7F7D411655B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042A218-6814-651A-CFFD-4034557E0E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bg>
      <p:bgPr>
        <a:solidFill>
          <a:schemeClr val="bg2">
            <a:alpha val="50446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289874BE-970D-D4C8-9E09-95F2102C6FC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40D4309-323C-9FCF-EE81-7175C911BF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bg bwMode="grayWhite">
      <p:bgPr>
        <a:solidFill>
          <a:schemeClr val="bg2">
            <a:alpha val="50471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Agenda poin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/>
              <a:t>6</a:t>
            </a:r>
          </a:p>
          <a:p>
            <a:pPr lvl="6"/>
            <a:r>
              <a:rPr lang="en-US" noProof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/>
              <a:t>8</a:t>
            </a:r>
          </a:p>
          <a:p>
            <a:pPr lvl="8"/>
            <a:r>
              <a:rPr lang="en-US" noProof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09.00-09.3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id="{51093488-6AB7-37A0-89EA-AB79F453A222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283B37E-D722-75BF-F93C-31ACD0C70E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69616" y="237415"/>
            <a:ext cx="2472079" cy="35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1"/>
            <a:ext cx="8652001" cy="2937882"/>
          </a:xfrm>
        </p:spPr>
        <p:txBody>
          <a:bodyPr anchor="b" anchorCtr="0"/>
          <a:lstStyle>
            <a:lvl1pPr algn="l">
              <a:defRPr sz="4400" b="1"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en-US"/>
          </a:p>
        </p:txBody>
      </p:sp>
      <p:sp>
        <p:nvSpPr>
          <p:cNvPr id="6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248690A-24B4-75EE-FF26-2A62B2E70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469618" y="237415"/>
            <a:ext cx="2472075" cy="359919"/>
          </a:xfrm>
          <a:prstGeom prst="rect">
            <a:avLst/>
          </a:prstGeom>
        </p:spPr>
      </p:pic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69D0C2FA-EA69-56C1-6F3E-F001DA797D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3925888"/>
            <a:ext cx="8593138" cy="196373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  <p:pic>
        <p:nvPicPr>
          <p:cNvPr id="5" name="Billede 4" descr="Et billede, der indeholder Font/skrifttype, Grafik, logo, symbol&#10;&#10;Automatisk genereret beskrivelse">
            <a:extLst>
              <a:ext uri="{FF2B5EF4-FFF2-40B4-BE49-F238E27FC236}">
                <a16:creationId xmlns:a16="http://schemas.microsoft.com/office/drawing/2014/main" id="{3ECFEAAD-7333-C91E-7368-B1D260C158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1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892603"/>
            <a:ext cx="12191999" cy="3965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83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63" Type="http://schemas.openxmlformats.org/officeDocument/2006/relationships/tags" Target="../tags/tag29.xml"/><Relationship Id="rId68" Type="http://schemas.openxmlformats.org/officeDocument/2006/relationships/tags" Target="../tags/tag34.xml"/><Relationship Id="rId84" Type="http://schemas.openxmlformats.org/officeDocument/2006/relationships/tags" Target="../tags/tag50.xml"/><Relationship Id="rId89" Type="http://schemas.openxmlformats.org/officeDocument/2006/relationships/tags" Target="../tags/tag55.xml"/><Relationship Id="rId112" Type="http://schemas.openxmlformats.org/officeDocument/2006/relationships/tags" Target="../tags/tag78.xml"/><Relationship Id="rId16" Type="http://schemas.openxmlformats.org/officeDocument/2006/relationships/slideLayout" Target="../slideLayouts/slideLayout16.xml"/><Relationship Id="rId107" Type="http://schemas.openxmlformats.org/officeDocument/2006/relationships/tags" Target="../tags/tag73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53" Type="http://schemas.openxmlformats.org/officeDocument/2006/relationships/tags" Target="../tags/tag19.xml"/><Relationship Id="rId58" Type="http://schemas.openxmlformats.org/officeDocument/2006/relationships/tags" Target="../tags/tag24.xml"/><Relationship Id="rId74" Type="http://schemas.openxmlformats.org/officeDocument/2006/relationships/tags" Target="../tags/tag40.xml"/><Relationship Id="rId79" Type="http://schemas.openxmlformats.org/officeDocument/2006/relationships/tags" Target="../tags/tag45.xml"/><Relationship Id="rId102" Type="http://schemas.openxmlformats.org/officeDocument/2006/relationships/tags" Target="../tags/tag68.xml"/><Relationship Id="rId123" Type="http://schemas.openxmlformats.org/officeDocument/2006/relationships/tags" Target="../tags/tag89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56.xml"/><Relationship Id="rId95" Type="http://schemas.openxmlformats.org/officeDocument/2006/relationships/tags" Target="../tags/tag61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64" Type="http://schemas.openxmlformats.org/officeDocument/2006/relationships/tags" Target="../tags/tag30.xml"/><Relationship Id="rId69" Type="http://schemas.openxmlformats.org/officeDocument/2006/relationships/tags" Target="../tags/tag35.xml"/><Relationship Id="rId113" Type="http://schemas.openxmlformats.org/officeDocument/2006/relationships/tags" Target="../tags/tag79.xml"/><Relationship Id="rId118" Type="http://schemas.openxmlformats.org/officeDocument/2006/relationships/tags" Target="../tags/tag84.xml"/><Relationship Id="rId80" Type="http://schemas.openxmlformats.org/officeDocument/2006/relationships/tags" Target="../tags/tag46.xml"/><Relationship Id="rId85" Type="http://schemas.openxmlformats.org/officeDocument/2006/relationships/tags" Target="../tags/tag51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59" Type="http://schemas.openxmlformats.org/officeDocument/2006/relationships/tags" Target="../tags/tag25.xml"/><Relationship Id="rId103" Type="http://schemas.openxmlformats.org/officeDocument/2006/relationships/tags" Target="../tags/tag69.xml"/><Relationship Id="rId108" Type="http://schemas.openxmlformats.org/officeDocument/2006/relationships/tags" Target="../tags/tag74.xml"/><Relationship Id="rId124" Type="http://schemas.openxmlformats.org/officeDocument/2006/relationships/tags" Target="../tags/tag90.xml"/><Relationship Id="rId54" Type="http://schemas.openxmlformats.org/officeDocument/2006/relationships/tags" Target="../tags/tag20.xml"/><Relationship Id="rId70" Type="http://schemas.openxmlformats.org/officeDocument/2006/relationships/tags" Target="../tags/tag36.xml"/><Relationship Id="rId75" Type="http://schemas.openxmlformats.org/officeDocument/2006/relationships/tags" Target="../tags/tag41.xml"/><Relationship Id="rId91" Type="http://schemas.openxmlformats.org/officeDocument/2006/relationships/tags" Target="../tags/tag57.xml"/><Relationship Id="rId96" Type="http://schemas.openxmlformats.org/officeDocument/2006/relationships/tags" Target="../tags/tag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tags" Target="../tags/tag15.xml"/><Relationship Id="rId114" Type="http://schemas.openxmlformats.org/officeDocument/2006/relationships/tags" Target="../tags/tag80.xml"/><Relationship Id="rId119" Type="http://schemas.openxmlformats.org/officeDocument/2006/relationships/tags" Target="../tags/tag85.xml"/><Relationship Id="rId44" Type="http://schemas.openxmlformats.org/officeDocument/2006/relationships/tags" Target="../tags/tag10.xml"/><Relationship Id="rId60" Type="http://schemas.openxmlformats.org/officeDocument/2006/relationships/tags" Target="../tags/tag26.xml"/><Relationship Id="rId65" Type="http://schemas.openxmlformats.org/officeDocument/2006/relationships/tags" Target="../tags/tag31.xml"/><Relationship Id="rId81" Type="http://schemas.openxmlformats.org/officeDocument/2006/relationships/tags" Target="../tags/tag47.xml"/><Relationship Id="rId86" Type="http://schemas.openxmlformats.org/officeDocument/2006/relationships/tags" Target="../tags/tag52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5.xml"/><Relationship Id="rId109" Type="http://schemas.openxmlformats.org/officeDocument/2006/relationships/tags" Target="../tags/tag75.xml"/><Relationship Id="rId34" Type="http://schemas.openxmlformats.org/officeDocument/2006/relationships/slideLayout" Target="../slideLayouts/slideLayout34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6" Type="http://schemas.openxmlformats.org/officeDocument/2006/relationships/tags" Target="../tags/tag42.xml"/><Relationship Id="rId97" Type="http://schemas.openxmlformats.org/officeDocument/2006/relationships/tags" Target="../tags/tag63.xml"/><Relationship Id="rId104" Type="http://schemas.openxmlformats.org/officeDocument/2006/relationships/tags" Target="../tags/tag70.xml"/><Relationship Id="rId120" Type="http://schemas.openxmlformats.org/officeDocument/2006/relationships/tags" Target="../tags/tag86.xml"/><Relationship Id="rId12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7.xml"/><Relationship Id="rId92" Type="http://schemas.openxmlformats.org/officeDocument/2006/relationships/tags" Target="../tags/tag58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66" Type="http://schemas.openxmlformats.org/officeDocument/2006/relationships/tags" Target="../tags/tag32.xml"/><Relationship Id="rId87" Type="http://schemas.openxmlformats.org/officeDocument/2006/relationships/tags" Target="../tags/tag53.xml"/><Relationship Id="rId110" Type="http://schemas.openxmlformats.org/officeDocument/2006/relationships/tags" Target="../tags/tag76.xml"/><Relationship Id="rId115" Type="http://schemas.openxmlformats.org/officeDocument/2006/relationships/tags" Target="../tags/tag81.xml"/><Relationship Id="rId61" Type="http://schemas.openxmlformats.org/officeDocument/2006/relationships/tags" Target="../tags/tag27.xml"/><Relationship Id="rId82" Type="http://schemas.openxmlformats.org/officeDocument/2006/relationships/tags" Target="../tags/tag48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56" Type="http://schemas.openxmlformats.org/officeDocument/2006/relationships/tags" Target="../tags/tag22.xml"/><Relationship Id="rId77" Type="http://schemas.openxmlformats.org/officeDocument/2006/relationships/tags" Target="../tags/tag43.xml"/><Relationship Id="rId100" Type="http://schemas.openxmlformats.org/officeDocument/2006/relationships/tags" Target="../tags/tag66.xml"/><Relationship Id="rId105" Type="http://schemas.openxmlformats.org/officeDocument/2006/relationships/tags" Target="../tags/tag71.xml"/><Relationship Id="rId12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72" Type="http://schemas.openxmlformats.org/officeDocument/2006/relationships/tags" Target="../tags/tag38.xml"/><Relationship Id="rId93" Type="http://schemas.openxmlformats.org/officeDocument/2006/relationships/tags" Target="../tags/tag59.xml"/><Relationship Id="rId98" Type="http://schemas.openxmlformats.org/officeDocument/2006/relationships/tags" Target="../tags/tag64.xml"/><Relationship Id="rId121" Type="http://schemas.openxmlformats.org/officeDocument/2006/relationships/tags" Target="../tags/tag87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tags" Target="../tags/tag12.xml"/><Relationship Id="rId67" Type="http://schemas.openxmlformats.org/officeDocument/2006/relationships/tags" Target="../tags/tag33.xml"/><Relationship Id="rId116" Type="http://schemas.openxmlformats.org/officeDocument/2006/relationships/tags" Target="../tags/tag8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62" Type="http://schemas.openxmlformats.org/officeDocument/2006/relationships/tags" Target="../tags/tag28.xml"/><Relationship Id="rId83" Type="http://schemas.openxmlformats.org/officeDocument/2006/relationships/tags" Target="../tags/tag49.xml"/><Relationship Id="rId88" Type="http://schemas.openxmlformats.org/officeDocument/2006/relationships/tags" Target="../tags/tag54.xml"/><Relationship Id="rId111" Type="http://schemas.openxmlformats.org/officeDocument/2006/relationships/tags" Target="../tags/tag77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2.xml"/><Relationship Id="rId57" Type="http://schemas.openxmlformats.org/officeDocument/2006/relationships/tags" Target="../tags/tag23.xml"/><Relationship Id="rId106" Type="http://schemas.openxmlformats.org/officeDocument/2006/relationships/tags" Target="../tags/tag7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tags" Target="../tags/tag18.xml"/><Relationship Id="rId73" Type="http://schemas.openxmlformats.org/officeDocument/2006/relationships/tags" Target="../tags/tag39.xml"/><Relationship Id="rId78" Type="http://schemas.openxmlformats.org/officeDocument/2006/relationships/tags" Target="../tags/tag44.xml"/><Relationship Id="rId94" Type="http://schemas.openxmlformats.org/officeDocument/2006/relationships/tags" Target="../tags/tag60.xml"/><Relationship Id="rId99" Type="http://schemas.openxmlformats.org/officeDocument/2006/relationships/tags" Target="../tags/tag65.xml"/><Relationship Id="rId101" Type="http://schemas.openxmlformats.org/officeDocument/2006/relationships/tags" Target="../tags/tag67.xml"/><Relationship Id="rId122" Type="http://schemas.openxmlformats.org/officeDocument/2006/relationships/tags" Target="../tags/tag8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EA72352-9C33-CB55-DD29-E6E2A6856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4184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5" imgW="360" imgH="360" progId="TCLayout.ActiveDocument.1">
                  <p:embed/>
                </p:oleObj>
              </mc:Choice>
              <mc:Fallback>
                <p:oleObj name="think-cell Slide" r:id="rId125" imgW="360" imgH="36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EA72352-9C33-CB55-DD29-E6E2A6856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, Header</a:t>
            </a:r>
          </a:p>
          <a:p>
            <a:pPr lvl="4"/>
            <a:r>
              <a:rPr lang="en-US" noProof="0"/>
              <a:t>Level 5, Body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, Small Header</a:t>
            </a:r>
          </a:p>
          <a:p>
            <a:pPr lvl="7"/>
            <a:r>
              <a:rPr lang="en-US" noProof="0"/>
              <a:t>Level 8, Small Body</a:t>
            </a:r>
          </a:p>
          <a:p>
            <a:pPr lvl="8"/>
            <a:r>
              <a:rPr lang="en-US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IBM Plex Sans" panose="020B05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IBM Plex Sans" panose="020B050305020300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IBM Plex Sans" panose="020B0503050203000203" pitchFamily="34" charset="0"/>
              </a:defRPr>
            </a:lvl1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  <p:sp>
        <p:nvSpPr>
          <p:cNvPr id="115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b="0" i="0" noProof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797" r:id="rId11"/>
    <p:sldLayoutId id="2147483808" r:id="rId12"/>
    <p:sldLayoutId id="2147483807" r:id="rId13"/>
    <p:sldLayoutId id="2147483810" r:id="rId14"/>
    <p:sldLayoutId id="2147483732" r:id="rId15"/>
    <p:sldLayoutId id="2147483809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90" r:id="rId24"/>
    <p:sldLayoutId id="2147483793" r:id="rId25"/>
    <p:sldLayoutId id="2147483798" r:id="rId26"/>
    <p:sldLayoutId id="2147483794" r:id="rId27"/>
    <p:sldLayoutId id="2147483799" r:id="rId28"/>
    <p:sldLayoutId id="2147483800" r:id="rId29"/>
    <p:sldLayoutId id="2147483743" r:id="rId30"/>
    <p:sldLayoutId id="2147483744" r:id="rId31"/>
    <p:sldLayoutId id="2147483803" r:id="rId32"/>
    <p:sldLayoutId id="2147483805" r:id="rId33"/>
    <p:sldLayoutId id="2147483762" r:id="rId3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IBM Plex Sans SemiBold" panose="020B0503050203000203" pitchFamily="34" charset="0"/>
          <a:ea typeface="Roboto" panose="02000000000000000000" pitchFamily="2" charset="0"/>
          <a:cs typeface="Space Grotesk" pitchFamily="2" charset="77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9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9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9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IBM Plex Sans" panose="020B05030502030002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5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5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hyperlink" Target="https://bygningsreglementet.dk/Tekniske-bestemmelser/11/BRV/Version-2-Funktionsafprovning" TargetMode="External"/><Relationship Id="rId1" Type="http://schemas.openxmlformats.org/officeDocument/2006/relationships/slideLayout" Target="../slideLayouts/slideLayout25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5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5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0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microsoft.com/office/2007/relationships/hdphoto" Target="../media/hdphoto1.wdp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0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6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3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9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3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6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7.png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3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3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3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ladsholder til billede 13">
            <a:extLst>
              <a:ext uri="{FF2B5EF4-FFF2-40B4-BE49-F238E27FC236}">
                <a16:creationId xmlns:a16="http://schemas.microsoft.com/office/drawing/2014/main" id="{2737F86D-11CE-F519-5BFD-C4074F7C8C9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C054ADE0-03D7-6AAC-5678-42FA95EFD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999" y="648000"/>
            <a:ext cx="7895109" cy="3104850"/>
          </a:xfrm>
        </p:spPr>
        <p:txBody>
          <a:bodyPr/>
          <a:lstStyle/>
          <a:p>
            <a:r>
              <a:rPr lang="da-DK"/>
              <a:t>Energikravene i Bygningsreglementet 2018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C33A395F-40D8-5737-0B00-803EFD58F4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Præsentationen senest opdateret maj 2024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607E4D5A-7A06-C354-37EB-8DB491FFFF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7578E5-BEEB-72CD-1F29-CF8F8199C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63524DF-B7D1-3504-1938-CB714291C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CE1C7-AFA1-478C-2EBD-60BA40505D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1081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E301A5C-069D-AFC6-D552-8F7BBBDE73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1292866"/>
          </a:xfrm>
        </p:spPr>
        <p:txBody>
          <a:bodyPr/>
          <a:lstStyle/>
          <a:p>
            <a:r>
              <a:rPr lang="en-US"/>
              <a:t>…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tænk</a:t>
            </a:r>
            <a:r>
              <a:rPr lang="en-US"/>
              <a:t> </a:t>
            </a:r>
            <a:r>
              <a:rPr lang="en-US" err="1"/>
              <a:t>altid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indeklima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84EA95-A6F4-BA66-674A-A234A779B2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1944000"/>
            <a:ext cx="7563671" cy="4266000"/>
          </a:xfrm>
        </p:spPr>
        <p:txBody>
          <a:bodyPr>
            <a:normAutofit/>
          </a:bodyPr>
          <a:lstStyle/>
          <a:p>
            <a:r>
              <a:rPr lang="da-DK"/>
              <a:t>Krav til ventilation i eksisterende bygninger ved ombygninger og forandringer, som påvirker ventilationen</a:t>
            </a:r>
          </a:p>
          <a:p>
            <a:pPr lvl="1"/>
            <a:r>
              <a:rPr lang="da-DK"/>
              <a:t>herunder udskiftninger, der reducerer ventilationen – fx udskiftning af døre og vinduer (sidstnævnte kan dog løses med </a:t>
            </a:r>
            <a:r>
              <a:rPr lang="da-DK" err="1"/>
              <a:t>udeluftventiler</a:t>
            </a:r>
            <a:r>
              <a:rPr lang="da-DK"/>
              <a:t>) </a:t>
            </a:r>
            <a:br>
              <a:rPr lang="da-DK"/>
            </a:br>
            <a:endParaRPr lang="da-DK"/>
          </a:p>
          <a:p>
            <a:r>
              <a:rPr lang="da-DK"/>
              <a:t>Fremgår af BR18’s vejledning om ventilation, punkt 1.1</a:t>
            </a:r>
          </a:p>
          <a:p>
            <a:r>
              <a:rPr lang="da-DK"/>
              <a:t>Formål</a:t>
            </a:r>
          </a:p>
          <a:p>
            <a:pPr lvl="1"/>
            <a:r>
              <a:rPr lang="da-DK"/>
              <a:t>Tilfredsstillende luftkvalitet og fugtforhold i hele benyttelsestiden – også ved renovering</a:t>
            </a:r>
          </a:p>
          <a:p>
            <a:pPr lvl="1"/>
            <a:r>
              <a:rPr lang="da-DK"/>
              <a:t>Godt indeklima og god bygningskvalitet</a:t>
            </a:r>
          </a:p>
        </p:txBody>
      </p:sp>
    </p:spTree>
    <p:extLst>
      <p:ext uri="{BB962C8B-B14F-4D97-AF65-F5344CB8AC3E}">
        <p14:creationId xmlns:p14="http://schemas.microsoft.com/office/powerpoint/2010/main" val="690226069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Hvornår skal noget funktionsafprøves?</a:t>
            </a:r>
            <a:br>
              <a:rPr lang="da-DK"/>
            </a:br>
            <a:br>
              <a:rPr lang="da-DK"/>
            </a:br>
            <a:br>
              <a:rPr lang="da-DK"/>
            </a:br>
            <a:endParaRPr lang="da-DK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583118" cy="42660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Gælder ved: </a:t>
            </a:r>
          </a:p>
          <a:p>
            <a:r>
              <a:rPr lang="da-DK"/>
              <a:t>Nybyggeri</a:t>
            </a:r>
          </a:p>
          <a:p>
            <a:r>
              <a:rPr lang="da-DK"/>
              <a:t>Eksisterende byggeri:</a:t>
            </a:r>
          </a:p>
          <a:p>
            <a:pPr lvl="1"/>
            <a:r>
              <a:rPr lang="da-DK"/>
              <a:t>Installation af nye tekniske anlæg/installationer  </a:t>
            </a:r>
          </a:p>
          <a:p>
            <a:pPr lvl="1"/>
            <a:r>
              <a:rPr lang="da-DK"/>
              <a:t>Udskiftning af eksisterende tekniske anlæg/installationer med nye anlæg/installationer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68653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Eksempel fra udbudstekst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583118" cy="4266000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“Der skal i projektets afleveringsfase afsættes nødvendig tid til at udføre funktionsafprøvning og til at rette eventuelle fejl.</a:t>
            </a:r>
          </a:p>
          <a:p>
            <a:pPr marL="0" indent="0">
              <a:buNone/>
            </a:pPr>
            <a:r>
              <a:rPr lang="da-DK"/>
              <a:t>Byggeriet kan først endeligt afleveres når alle funktionsafprøvninger er bestået.</a:t>
            </a:r>
          </a:p>
          <a:p>
            <a:pPr marL="0" indent="0">
              <a:buNone/>
            </a:pPr>
            <a:r>
              <a:rPr lang="da-DK"/>
              <a:t>Den endelige betaling af projektbeløbet afhænger af, hvorvidt funktionskravene er bestået eller ej.”</a:t>
            </a:r>
          </a:p>
          <a:p>
            <a:pPr marL="0" indent="0">
              <a:buNone/>
            </a:pPr>
            <a:endParaRPr lang="da-DK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818817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Vejledning i BR</a:t>
            </a:r>
            <a:br>
              <a:rPr lang="da-DK"/>
            </a:br>
            <a:endParaRPr lang="da-DK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583118" cy="4266000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Vejledning om funktionsafprøvning i BR ligger i BR under vejledninger til kapitel 11, Energiforbrug</a:t>
            </a:r>
          </a:p>
          <a:p>
            <a:pPr marL="0" indent="0">
              <a:buNone/>
            </a:pPr>
            <a:r>
              <a:rPr lang="da-DK" sz="1600" dirty="0" err="1">
                <a:hlinkClick r:id="rId2"/>
              </a:rPr>
              <a:t>bygningsreglementet.dk</a:t>
            </a:r>
            <a:r>
              <a:rPr lang="da-DK" sz="1600" dirty="0">
                <a:hlinkClick r:id="rId2"/>
              </a:rPr>
              <a:t>/Tekniske-bestemmelser/</a:t>
            </a:r>
            <a:br>
              <a:rPr lang="da-DK" sz="1600" dirty="0">
                <a:hlinkClick r:id="rId2"/>
              </a:rPr>
            </a:br>
            <a:r>
              <a:rPr lang="da-DK" sz="1600" dirty="0">
                <a:hlinkClick r:id="rId2"/>
              </a:rPr>
              <a:t>11/BRV/Version-2-Funktionsafprovning</a:t>
            </a:r>
            <a:endParaRPr lang="da-DK" sz="1600" dirty="0"/>
          </a:p>
          <a:p>
            <a:pPr marL="0" indent="0">
              <a:buNone/>
            </a:pPr>
            <a:r>
              <a:rPr lang="da-DK" dirty="0"/>
              <a:t>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764942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Fire uddybende vejledninger</a:t>
            </a:r>
            <a:br>
              <a:rPr lang="da-DK"/>
            </a:br>
            <a:endParaRPr lang="da-DK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4744132" cy="4266000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Fire uddybende vejledninger om funktionsafprøvning i eksisterende bygninger fra Videncentret</a:t>
            </a:r>
          </a:p>
          <a:p>
            <a:r>
              <a:rPr lang="da-DK"/>
              <a:t>Fjernvarme</a:t>
            </a:r>
          </a:p>
          <a:p>
            <a:r>
              <a:rPr lang="da-DK"/>
              <a:t>Naturgas</a:t>
            </a:r>
          </a:p>
          <a:p>
            <a:r>
              <a:rPr lang="da-DK"/>
              <a:t>Ventilationsanlæg</a:t>
            </a:r>
          </a:p>
          <a:p>
            <a:r>
              <a:rPr lang="da-DK"/>
              <a:t>Belysningsanlæg </a:t>
            </a:r>
            <a:br>
              <a:rPr lang="da-DK"/>
            </a:b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DFB846DC-98DE-DA88-7C5D-E479A2BF62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91002">
            <a:off x="3718797" y="2004210"/>
            <a:ext cx="8389571" cy="471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23160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Frivillig lavenergiklasse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E50C4223-90D8-989A-B526-257A5DF389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700" y="3962400"/>
            <a:ext cx="8593138" cy="1047583"/>
          </a:xfrm>
        </p:spPr>
        <p:txBody>
          <a:bodyPr/>
          <a:lstStyle/>
          <a:p>
            <a:endParaRPr lang="da-DK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32916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Frivillig lavenergiklasse</a:t>
            </a:r>
            <a:br>
              <a:rPr lang="da-DK"/>
            </a:br>
            <a:endParaRPr lang="da-DK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583118" cy="4266000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Der er ikke længere planer om nye stramninger til energikravene i Bygningsklasse 2020 – disse krav er blevet til en frivillig lavenergiklasse</a:t>
            </a:r>
          </a:p>
          <a:p>
            <a:pPr marL="0" indent="0">
              <a:buNone/>
            </a:pPr>
            <a:r>
              <a:rPr lang="da-DK" dirty="0"/>
              <a:t>Bl.a. krav om </a:t>
            </a:r>
          </a:p>
          <a:p>
            <a:r>
              <a:rPr lang="da-DK" dirty="0"/>
              <a:t>Lavere transmissionstab</a:t>
            </a:r>
          </a:p>
          <a:p>
            <a:r>
              <a:rPr lang="da-DK" dirty="0"/>
              <a:t>Højere energitilskud gennem vinduer</a:t>
            </a:r>
          </a:p>
          <a:p>
            <a:r>
              <a:rPr lang="da-DK" dirty="0"/>
              <a:t>Øget tæthed</a:t>
            </a:r>
          </a:p>
          <a:p>
            <a:r>
              <a:rPr lang="da-DK" dirty="0"/>
              <a:t>Skærpede U-værdier visse steder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89111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22097CC5-E5A2-EF87-DD2A-83902D8C6948}"/>
              </a:ext>
            </a:extLst>
          </p:cNvPr>
          <p:cNvSpPr txBox="1">
            <a:spLocks/>
          </p:cNvSpPr>
          <p:nvPr/>
        </p:nvSpPr>
        <p:spPr>
          <a:xfrm>
            <a:off x="647700" y="647700"/>
            <a:ext cx="10895014" cy="662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i="0" kern="1200">
                <a:solidFill>
                  <a:schemeClr val="tx2"/>
                </a:solidFill>
                <a:latin typeface="Space Grotesk" pitchFamily="2" charset="77"/>
                <a:ea typeface="+mj-ea"/>
                <a:cs typeface="Space Grotesk" pitchFamily="2" charset="77"/>
              </a:defRPr>
            </a:lvl1pPr>
          </a:lstStyle>
          <a:p>
            <a:r>
              <a:rPr lang="da-DK">
                <a:latin typeface="IBM Plex Sans SemiBold" panose="020B0503050203000203" pitchFamily="34" charset="0"/>
              </a:rPr>
              <a:t>Spørgsmål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47C614D6-1676-9900-2130-6CCAD0D435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9098" y="1571242"/>
            <a:ext cx="2949152" cy="5302733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0BFC7251-66C9-40BA-F9DB-2CB2765EDA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0798" y="1867755"/>
            <a:ext cx="2735778" cy="4999870"/>
          </a:xfrm>
          <a:prstGeom prst="rect">
            <a:avLst/>
          </a:prstGeom>
        </p:spPr>
      </p:pic>
      <p:sp>
        <p:nvSpPr>
          <p:cNvPr id="6" name="Oval billedforklaring 5">
            <a:extLst>
              <a:ext uri="{FF2B5EF4-FFF2-40B4-BE49-F238E27FC236}">
                <a16:creationId xmlns:a16="http://schemas.microsoft.com/office/drawing/2014/main" id="{57A2A6C4-B060-6B21-EF0E-73F6C41BF115}"/>
              </a:ext>
            </a:extLst>
          </p:cNvPr>
          <p:cNvSpPr/>
          <p:nvPr/>
        </p:nvSpPr>
        <p:spPr>
          <a:xfrm rot="10057046">
            <a:off x="1508850" y="2089683"/>
            <a:ext cx="3894627" cy="3884831"/>
          </a:xfrm>
          <a:prstGeom prst="wedgeEllipseCallout">
            <a:avLst>
              <a:gd name="adj1" fmla="val -65210"/>
              <a:gd name="adj2" fmla="val 15807"/>
            </a:avLst>
          </a:prstGeom>
          <a:solidFill>
            <a:srgbClr val="2B2D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7A81737E-5756-270F-FEBB-A38B1EA2F175}"/>
              </a:ext>
            </a:extLst>
          </p:cNvPr>
          <p:cNvSpPr txBox="1"/>
          <p:nvPr/>
        </p:nvSpPr>
        <p:spPr>
          <a:xfrm>
            <a:off x="2671938" y="2226315"/>
            <a:ext cx="1568450" cy="3421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a-DK" sz="20000" b="1">
                <a:solidFill>
                  <a:schemeClr val="bg1"/>
                </a:solidFill>
                <a:latin typeface="IBM Plex Sans SemiBold" panose="020B0503050203000203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555855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2726B1BB-6001-DE52-DB7C-C3F960CC2C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9014" y="3129031"/>
            <a:ext cx="808349" cy="808349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053D410A-6C9A-8A4E-646B-56F9DE1F21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6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4541" y="3129031"/>
            <a:ext cx="808349" cy="808349"/>
          </a:xfrm>
          <a:prstGeom prst="rect">
            <a:avLst/>
          </a:prstGeom>
          <a:noFill/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660AFAC9-89AF-28A4-5747-2E503E534A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915" y="3129031"/>
            <a:ext cx="808349" cy="808349"/>
          </a:xfrm>
          <a:prstGeom prst="rect">
            <a:avLst/>
          </a:prstGeom>
        </p:spPr>
      </p:pic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63E7C19A-FFD2-2F41-D857-B6B90DC1536A}"/>
              </a:ext>
            </a:extLst>
          </p:cNvPr>
          <p:cNvSpPr txBox="1">
            <a:spLocks/>
          </p:cNvSpPr>
          <p:nvPr/>
        </p:nvSpPr>
        <p:spPr>
          <a:xfrm>
            <a:off x="6963663" y="4130352"/>
            <a:ext cx="1755835" cy="478688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/>
              <a:t>LinkedIn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4F738592-915C-2F0F-EF22-C03C337E5F38}"/>
              </a:ext>
            </a:extLst>
          </p:cNvPr>
          <p:cNvSpPr txBox="1">
            <a:spLocks/>
          </p:cNvSpPr>
          <p:nvPr/>
        </p:nvSpPr>
        <p:spPr>
          <a:xfrm>
            <a:off x="8375271" y="4130352"/>
            <a:ext cx="1755835" cy="478688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/>
              <a:t>X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7D628065-0560-5371-E9E1-10DE1B256A95}"/>
              </a:ext>
            </a:extLst>
          </p:cNvPr>
          <p:cNvSpPr txBox="1">
            <a:spLocks/>
          </p:cNvSpPr>
          <p:nvPr/>
        </p:nvSpPr>
        <p:spPr>
          <a:xfrm>
            <a:off x="9786879" y="4130352"/>
            <a:ext cx="1755835" cy="478688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da-DK"/>
              <a:t>Facebook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0A8E749F-1E6E-CE81-06EF-E131CB29B5F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2224" y="1929757"/>
            <a:ext cx="2803603" cy="5506510"/>
          </a:xfrm>
          <a:prstGeom prst="roundRect">
            <a:avLst>
              <a:gd name="adj" fmla="val 3784"/>
            </a:avLst>
          </a:prstGeom>
          <a:effectLst>
            <a:outerShdw blurRad="566016" sx="98311" sy="98311" algn="ctr" rotWithShape="0">
              <a:prstClr val="black">
                <a:alpha val="17000"/>
              </a:prstClr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77D06450-4DE8-4403-C36D-2F9EE549FCCF}"/>
              </a:ext>
            </a:extLst>
          </p:cNvPr>
          <p:cNvSpPr txBox="1">
            <a:spLocks/>
          </p:cNvSpPr>
          <p:nvPr/>
        </p:nvSpPr>
        <p:spPr>
          <a:xfrm>
            <a:off x="647700" y="647700"/>
            <a:ext cx="10895014" cy="662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i="0" kern="1200">
                <a:solidFill>
                  <a:schemeClr val="tx2"/>
                </a:solidFill>
                <a:latin typeface="Space Grotesk" pitchFamily="2" charset="77"/>
                <a:ea typeface="+mj-ea"/>
                <a:cs typeface="Space Grotesk" pitchFamily="2" charset="77"/>
              </a:defRPr>
            </a:lvl1pPr>
          </a:lstStyle>
          <a:p>
            <a:r>
              <a:rPr lang="da-DK">
                <a:latin typeface="IBM Plex Sans SemiBold" panose="020B0503050203000203" pitchFamily="34" charset="0"/>
              </a:rPr>
              <a:t>Følg os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0E25BA6-0CA7-6862-70B3-090E7EFF02CD}"/>
              </a:ext>
            </a:extLst>
          </p:cNvPr>
          <p:cNvSpPr txBox="1"/>
          <p:nvPr/>
        </p:nvSpPr>
        <p:spPr>
          <a:xfrm>
            <a:off x="-876693" y="3035431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DB2F2F9F-D6B1-1AA8-0594-618154350DD6}"/>
              </a:ext>
            </a:extLst>
          </p:cNvPr>
          <p:cNvSpPr txBox="1">
            <a:spLocks/>
          </p:cNvSpPr>
          <p:nvPr/>
        </p:nvSpPr>
        <p:spPr>
          <a:xfrm>
            <a:off x="534875" y="1929757"/>
            <a:ext cx="2198898" cy="478688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Få nyhedsbrev i din indbakk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2CFB4C35-1029-3978-39AF-936D9570BCEF}"/>
              </a:ext>
            </a:extLst>
          </p:cNvPr>
          <p:cNvSpPr txBox="1">
            <a:spLocks/>
          </p:cNvSpPr>
          <p:nvPr/>
        </p:nvSpPr>
        <p:spPr>
          <a:xfrm>
            <a:off x="7114199" y="1929757"/>
            <a:ext cx="2839921" cy="478688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Eller find os på de sociale medier:</a:t>
            </a:r>
          </a:p>
        </p:txBody>
      </p:sp>
    </p:spTree>
    <p:extLst>
      <p:ext uri="{BB962C8B-B14F-4D97-AF65-F5344CB8AC3E}">
        <p14:creationId xmlns:p14="http://schemas.microsoft.com/office/powerpoint/2010/main" val="2066683545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77D06450-4DE8-4403-C36D-2F9EE549FCCF}"/>
              </a:ext>
            </a:extLst>
          </p:cNvPr>
          <p:cNvSpPr txBox="1">
            <a:spLocks/>
          </p:cNvSpPr>
          <p:nvPr/>
        </p:nvSpPr>
        <p:spPr>
          <a:xfrm>
            <a:off x="647700" y="647700"/>
            <a:ext cx="10895014" cy="6626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i="0" kern="1200">
                <a:solidFill>
                  <a:schemeClr val="tx2"/>
                </a:solidFill>
                <a:latin typeface="Space Grotesk" pitchFamily="2" charset="77"/>
                <a:ea typeface="+mj-ea"/>
                <a:cs typeface="Space Grotesk" pitchFamily="2" charset="77"/>
              </a:defRPr>
            </a:lvl1pPr>
          </a:lstStyle>
          <a:p>
            <a:r>
              <a:rPr lang="da-DK">
                <a:latin typeface="IBM Plex Sans SemiBold" panose="020B0503050203000203" pitchFamily="34" charset="0"/>
              </a:rPr>
              <a:t>Kontakt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E0E25BA6-0CA7-6862-70B3-090E7EFF02CD}"/>
              </a:ext>
            </a:extLst>
          </p:cNvPr>
          <p:cNvSpPr txBox="1"/>
          <p:nvPr/>
        </p:nvSpPr>
        <p:spPr>
          <a:xfrm>
            <a:off x="-876693" y="3035431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DB2F2F9F-D6B1-1AA8-0594-618154350DD6}"/>
              </a:ext>
            </a:extLst>
          </p:cNvPr>
          <p:cNvSpPr txBox="1">
            <a:spLocks/>
          </p:cNvSpPr>
          <p:nvPr/>
        </p:nvSpPr>
        <p:spPr>
          <a:xfrm>
            <a:off x="565938" y="1929756"/>
            <a:ext cx="5711622" cy="4280543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sz="1600" b="1"/>
              <a:t>Byggeri og Energi</a:t>
            </a:r>
            <a:br>
              <a:rPr lang="da-DK" sz="1600"/>
            </a:br>
            <a:r>
              <a:rPr lang="da-DK" sz="1600"/>
              <a:t>Videncenter for Energibesparelser i Bygninger</a:t>
            </a:r>
          </a:p>
          <a:p>
            <a:r>
              <a:rPr lang="da-DK" sz="1600"/>
              <a:t>Telefon 31 15 90 00</a:t>
            </a:r>
          </a:p>
          <a:p>
            <a:r>
              <a:rPr lang="da-DK" sz="1600" err="1"/>
              <a:t>www.ByggeriOgEnergi.dk</a:t>
            </a:r>
            <a:endParaRPr lang="da-DK" sz="1600"/>
          </a:p>
          <a:p>
            <a:r>
              <a:rPr lang="da-DK" sz="1600" err="1"/>
              <a:t>info@byggeriogenergi.dk</a:t>
            </a:r>
            <a:r>
              <a:rPr lang="da-DK" sz="1600"/>
              <a:t>   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a-DK" sz="160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74E6FDB-2653-FCBD-3B38-729B1DBF62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66148" y="1310326"/>
            <a:ext cx="5230232" cy="544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296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FF6E7F1-BFCD-20EE-CC3E-EF392ED5A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2B70E0A-2F89-5C4B-6C8D-89363A0A5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88D392E-17CE-E97B-03F1-ABAC370B6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/>
              <a:pPr/>
              <a:t>109</a:t>
            </a:fld>
            <a:endParaRPr lang="en-US" sz="100"/>
          </a:p>
        </p:txBody>
      </p:sp>
    </p:spTree>
    <p:extLst>
      <p:ext uri="{BB962C8B-B14F-4D97-AF65-F5344CB8AC3E}">
        <p14:creationId xmlns:p14="http://schemas.microsoft.com/office/powerpoint/2010/main" val="1886885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CF9134-A409-FDB3-8975-05379FA77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usk altid fugt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80EE3A8-7188-1403-A877-621314130E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8675294" cy="42696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Bygninger skal projekteres, udføres og vedligeholdes</a:t>
            </a:r>
          </a:p>
          <a:p>
            <a:r>
              <a:rPr lang="da-DK"/>
              <a:t>så vand og fugt ikke medfører risiko for personers sundhed eller skader på bygningen,</a:t>
            </a:r>
          </a:p>
          <a:p>
            <a:r>
              <a:rPr lang="da-DK"/>
              <a:t>så klimaskærmen er tæt mod indtrængen af regn og smeltevand, og så det på en forsvarlig måde kan løbe af. Tagvand skal via tagrender og/eller tagnedløb afledes til afløb.</a:t>
            </a:r>
          </a:p>
          <a:p>
            <a:endParaRPr lang="da-DK"/>
          </a:p>
          <a:p>
            <a:pPr marL="0" indent="0">
              <a:buNone/>
            </a:pPr>
            <a:r>
              <a:rPr lang="da-DK" b="1"/>
              <a:t>BR18: §§ 334 –338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6FD3619-4F75-80DD-F478-89AC92CC9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, ændret anvendelse, tilbygning eller ombygning og andre forandringer</a:t>
            </a:r>
          </a:p>
        </p:txBody>
      </p:sp>
    </p:spTree>
    <p:extLst>
      <p:ext uri="{BB962C8B-B14F-4D97-AF65-F5344CB8AC3E}">
        <p14:creationId xmlns:p14="http://schemas.microsoft.com/office/powerpoint/2010/main" val="625113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CF9134-A409-FDB3-8975-05379FA77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usk altid fugt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80EE3A8-7188-1403-A877-621314130E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8675294" cy="42696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Bygninger skal sikres mod </a:t>
            </a:r>
          </a:p>
          <a:p>
            <a:r>
              <a:rPr lang="da-DK"/>
              <a:t>Skadelig akkumulering af kondensfugt som følge af fugttransport fra </a:t>
            </a:r>
            <a:r>
              <a:rPr lang="da-DK" err="1"/>
              <a:t>indeluften</a:t>
            </a:r>
            <a:endParaRPr lang="da-DK"/>
          </a:p>
          <a:p>
            <a:r>
              <a:rPr lang="da-DK"/>
              <a:t>Kuldebroer i klimaskærmen må ikke medføre problemer med fx kondensdannelse og skimmelvækst</a:t>
            </a:r>
          </a:p>
          <a:p>
            <a:r>
              <a:rPr lang="da-DK"/>
              <a:t>Bygningskonstruktioner og –materialer må ikke have et fugtindhold, der ved indflytning medfører risiko for vækst af skimmelsvamp</a:t>
            </a:r>
          </a:p>
          <a:p>
            <a:r>
              <a:rPr lang="da-DK"/>
              <a:t>Indtrængning af vand fra grundvand og overfladevand og mod opsugning af fugt fra undergrunden</a:t>
            </a:r>
          </a:p>
          <a:p>
            <a:endParaRPr lang="da-DK"/>
          </a:p>
          <a:p>
            <a:pPr marL="0" indent="0">
              <a:buNone/>
            </a:pPr>
            <a:r>
              <a:rPr lang="da-DK" b="1"/>
              <a:t>BR18: §§ 334 –338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6FD3619-4F75-80DD-F478-89AC92CC9E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, ændret anvendelse, tilbygning eller ombygning og andre forandringer</a:t>
            </a:r>
          </a:p>
        </p:txBody>
      </p:sp>
    </p:spTree>
    <p:extLst>
      <p:ext uri="{BB962C8B-B14F-4D97-AF65-F5344CB8AC3E}">
        <p14:creationId xmlns:p14="http://schemas.microsoft.com/office/powerpoint/2010/main" val="29697785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Nybyggeri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E50C4223-90D8-989A-B526-257A5DF389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700" y="3962400"/>
            <a:ext cx="8593138" cy="1047583"/>
          </a:xfrm>
        </p:spPr>
        <p:txBody>
          <a:bodyPr/>
          <a:lstStyle/>
          <a:p>
            <a:r>
              <a:rPr lang="da-DK"/>
              <a:t>Hvordan overholdes energikravene i BR18?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889BE02C-142F-97B4-24A8-A6C91E48FF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1910624"/>
            <a:ext cx="771067" cy="82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224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DA4784D-15C1-B809-3C31-F5C027B4F331}"/>
              </a:ext>
            </a:extLst>
          </p:cNvPr>
          <p:cNvSpPr/>
          <p:nvPr/>
        </p:nvSpPr>
        <p:spPr>
          <a:xfrm>
            <a:off x="0" y="0"/>
            <a:ext cx="9063318" cy="7144871"/>
          </a:xfrm>
          <a:prstGeom prst="rect">
            <a:avLst/>
          </a:prstGeom>
          <a:solidFill>
            <a:srgbClr val="F69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C85CD6-0111-A2F9-8115-8CDE47536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19E26AD-E034-BF2B-BF0A-39FE721F0D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000" y="1754018"/>
            <a:ext cx="5765568" cy="356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840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ammenhængen mellem kraven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a-DK" b="1"/>
              <a:t>Energirammen:</a:t>
            </a:r>
            <a:br>
              <a:rPr lang="da-DK"/>
            </a:br>
            <a:r>
              <a:rPr lang="da-DK"/>
              <a:t>Sikrer, at bygningen har minimalt energibehov </a:t>
            </a:r>
            <a:br>
              <a:rPr lang="da-DK"/>
            </a:br>
            <a:endParaRPr lang="da-DK"/>
          </a:p>
          <a:p>
            <a:pPr marL="457200" indent="-457200">
              <a:buFont typeface="+mj-lt"/>
              <a:buAutoNum type="arabicPeriod"/>
            </a:pPr>
            <a:r>
              <a:rPr lang="da-DK" b="1"/>
              <a:t>Transmissionstab:</a:t>
            </a:r>
            <a:br>
              <a:rPr lang="da-DK"/>
            </a:br>
            <a:r>
              <a:rPr lang="da-DK"/>
              <a:t>Sikrer gode bygninger med komfort og velisolerede konstruktioner</a:t>
            </a:r>
            <a:br>
              <a:rPr lang="da-DK"/>
            </a:br>
            <a:endParaRPr lang="da-DK"/>
          </a:p>
          <a:p>
            <a:pPr marL="457200" indent="-457200">
              <a:buFont typeface="+mj-lt"/>
              <a:buAutoNum type="arabicPeriod"/>
            </a:pPr>
            <a:r>
              <a:rPr lang="da-DK" b="1"/>
              <a:t>Mindste varmeisolering:</a:t>
            </a:r>
            <a:br>
              <a:rPr lang="da-DK"/>
            </a:br>
            <a:r>
              <a:rPr lang="da-DK"/>
              <a:t>Sikrer alle bygningsdele mod risiko for fugtteknisk problem pga. kolde overflader</a:t>
            </a:r>
            <a:br>
              <a:rPr lang="da-DK"/>
            </a:br>
            <a:endParaRPr lang="da-DK"/>
          </a:p>
          <a:p>
            <a:pPr marL="457200" indent="-457200">
              <a:buFont typeface="+mj-lt"/>
              <a:buAutoNum type="arabicPeriod"/>
            </a:pPr>
            <a:r>
              <a:rPr lang="da-DK" b="1"/>
              <a:t>Krav om lufttæthed:</a:t>
            </a:r>
            <a:br>
              <a:rPr lang="da-DK"/>
            </a:br>
            <a:r>
              <a:rPr lang="da-DK"/>
              <a:t>Sikrer mod utætheder og trækgen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0097A889-6D7B-C55F-E8BC-EF6641F83B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1296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 b="1">
                <a:solidFill>
                  <a:schemeClr val="tx1"/>
                </a:solidFill>
              </a:rPr>
              <a:t>Energirammen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Dimensionerende transmissionstab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Generelle mindstekrav til klimaskærm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Lufttæthed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39771ED9-2321-F7BE-8933-4C4568927B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1810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vad er energirammen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10896000" cy="12564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Det samlede </a:t>
            </a:r>
            <a:r>
              <a:rPr lang="da-DK" b="1" u="sng"/>
              <a:t>behov for tilført energi</a:t>
            </a:r>
            <a:r>
              <a:rPr lang="da-DK" b="1"/>
              <a:t> til opvarmning, ventilation, køling og varmt brugsvand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r>
              <a:rPr lang="da-DK" err="1"/>
              <a:t>SBi</a:t>
            </a:r>
            <a:r>
              <a:rPr lang="da-DK"/>
              <a:t> anvisning 213 - Bygningers energibehov. Beregningen inkluderer bl.a. 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6" name="Pladsholder til indhold 2">
            <a:extLst>
              <a:ext uri="{FF2B5EF4-FFF2-40B4-BE49-F238E27FC236}">
                <a16:creationId xmlns:a16="http://schemas.microsoft.com/office/drawing/2014/main" id="{8BA4765A-713B-DDFF-2BA3-FE0F9AACEE4D}"/>
              </a:ext>
            </a:extLst>
          </p:cNvPr>
          <p:cNvSpPr txBox="1">
            <a:spLocks/>
          </p:cNvSpPr>
          <p:nvPr/>
        </p:nvSpPr>
        <p:spPr>
          <a:xfrm>
            <a:off x="648000" y="3429000"/>
            <a:ext cx="10896000" cy="2200835"/>
          </a:xfrm>
          <a:prstGeom prst="rect">
            <a:avLst/>
          </a:prstGeom>
        </p:spPr>
        <p:txBody>
          <a:bodyPr vert="horz" lIns="0" tIns="0" rIns="0" bIns="0" numCol="2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Bygningens klimaskærm</a:t>
            </a:r>
          </a:p>
          <a:p>
            <a:r>
              <a:rPr lang="da-DK"/>
              <a:t>Bygningens placering og orientering, herunder dagslys og udeklima</a:t>
            </a:r>
          </a:p>
          <a:p>
            <a:r>
              <a:rPr lang="da-DK"/>
              <a:t>Varmeanlæg</a:t>
            </a:r>
          </a:p>
          <a:p>
            <a:r>
              <a:rPr lang="da-DK"/>
              <a:t>Bygningens varmeakkumulerende egenskaber</a:t>
            </a:r>
          </a:p>
          <a:p>
            <a:r>
              <a:rPr lang="da-DK"/>
              <a:t>Ventilation</a:t>
            </a:r>
          </a:p>
          <a:p>
            <a:r>
              <a:rPr lang="da-DK"/>
              <a:t>Solindfald og solafskærmning</a:t>
            </a:r>
          </a:p>
          <a:p>
            <a:r>
              <a:rPr lang="da-DK"/>
              <a:t>Belysning (kontorer, skoler mv.)</a:t>
            </a:r>
          </a:p>
          <a:p>
            <a:r>
              <a:rPr lang="da-DK"/>
              <a:t>Pumper</a:t>
            </a:r>
          </a:p>
          <a:p>
            <a:r>
              <a:rPr lang="da-DK"/>
              <a:t>Vedvarende energi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59FE1B4-50E3-C0E9-BFA3-EA775896411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1955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F8BC731-A08C-4CFF-CD34-812E8C08B8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8" y="1102661"/>
            <a:ext cx="8605239" cy="5782236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8F5CC8F8-8EB6-CB5E-C1AC-606AAC2492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3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edvarende energi i energiramm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3999"/>
            <a:ext cx="5932094" cy="2970001"/>
          </a:xfrm>
        </p:spPr>
        <p:txBody>
          <a:bodyPr/>
          <a:lstStyle/>
          <a:p>
            <a:r>
              <a:rPr lang="da-DK"/>
              <a:t>Modregning af </a:t>
            </a:r>
            <a:r>
              <a:rPr lang="da-DK" err="1"/>
              <a:t>elproducerende</a:t>
            </a:r>
            <a:r>
              <a:rPr lang="da-DK"/>
              <a:t> vedvarende energianlæg i energibehovet</a:t>
            </a:r>
          </a:p>
          <a:p>
            <a:r>
              <a:rPr lang="da-DK"/>
              <a:t>Max. 25 kWh/m² pr. år kan regnes med (Be18-beregningsprogram tager højde for dette) </a:t>
            </a:r>
          </a:p>
          <a:p>
            <a:r>
              <a:rPr lang="da-DK"/>
              <a:t>Gælder for alle typer varmeforsyning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CD605B59-AC64-1B28-4F6D-325F05FB65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9305" y="1944001"/>
            <a:ext cx="4524652" cy="4265999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00EB4567-070E-515F-BFCC-53ED1881D9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69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376D79-E125-1B7A-0F5F-90345FD1D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Om Byggeri og Energi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FE6CEE3-46C8-854F-1FBF-8C00A05D4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0317" y="1944000"/>
            <a:ext cx="5653921" cy="1292028"/>
          </a:xfrm>
        </p:spPr>
        <p:txBody>
          <a:bodyPr/>
          <a:lstStyle/>
          <a:p>
            <a:pPr marL="0" indent="0">
              <a:lnSpc>
                <a:spcPct val="110000"/>
              </a:lnSpc>
              <a:buNone/>
            </a:pPr>
            <a:r>
              <a:rPr lang="da-DK" b="1"/>
              <a:t>www.ByggeriOgEnergi.dk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a-DK" sz="2000" err="1"/>
              <a:t>Tlf</a:t>
            </a:r>
            <a:r>
              <a:rPr lang="da-DK" sz="2000"/>
              <a:t>: 31 15 90 00</a:t>
            </a:r>
            <a:br>
              <a:rPr lang="da-DK"/>
            </a:br>
            <a:r>
              <a:rPr lang="da-DK" sz="2000" err="1"/>
              <a:t>info@ByggeriOgEnergi.dk</a:t>
            </a:r>
            <a:endParaRPr lang="da-DK"/>
          </a:p>
        </p:txBody>
      </p:sp>
      <p:pic>
        <p:nvPicPr>
          <p:cNvPr id="11" name="Pladsholder til indhold 10" descr="Et billede, der indeholder tekst, skærmbillede, design, skabelon&#10;&#10;Automatisk genereret beskrivelse">
            <a:extLst>
              <a:ext uri="{FF2B5EF4-FFF2-40B4-BE49-F238E27FC236}">
                <a16:creationId xmlns:a16="http://schemas.microsoft.com/office/drawing/2014/main" id="{BC6AD307-D8F3-E13B-B696-77184D188F46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251" y="1944687"/>
            <a:ext cx="4146070" cy="5766931"/>
          </a:xfrm>
          <a:prstGeom prst="roundRect">
            <a:avLst>
              <a:gd name="adj" fmla="val 1733"/>
            </a:avLst>
          </a:prstGeom>
          <a:effectLst>
            <a:outerShdw blurRad="358473" sx="104000" sy="104000" algn="ctr" rotWithShape="0">
              <a:prstClr val="black">
                <a:alpha val="14373"/>
              </a:prstClr>
            </a:outerShdw>
          </a:effectLst>
        </p:spPr>
      </p:pic>
      <p:pic>
        <p:nvPicPr>
          <p:cNvPr id="14" name="Pladsholder til indhold 13" descr="Et billede, der indeholder logo, symbol, Font/skrifttype, Grafik&#10;&#10;Automatisk genereret beskrivelse">
            <a:extLst>
              <a:ext uri="{FF2B5EF4-FFF2-40B4-BE49-F238E27FC236}">
                <a16:creationId xmlns:a16="http://schemas.microsoft.com/office/drawing/2014/main" id="{0186798B-0CE0-37F8-5D66-E4F857D0D1E4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6124" y="5747863"/>
            <a:ext cx="2286791" cy="786137"/>
          </a:xfrm>
        </p:spPr>
      </p:pic>
      <p:sp>
        <p:nvSpPr>
          <p:cNvPr id="5" name="Pladsholder til indhold 2">
            <a:extLst>
              <a:ext uri="{FF2B5EF4-FFF2-40B4-BE49-F238E27FC236}">
                <a16:creationId xmlns:a16="http://schemas.microsoft.com/office/drawing/2014/main" id="{E4178092-096C-2AB9-F3DE-E8FA48E7CA43}"/>
              </a:ext>
            </a:extLst>
          </p:cNvPr>
          <p:cNvSpPr txBox="1">
            <a:spLocks/>
          </p:cNvSpPr>
          <p:nvPr/>
        </p:nvSpPr>
        <p:spPr>
          <a:xfrm>
            <a:off x="5410317" y="3562227"/>
            <a:ext cx="5653921" cy="18594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Hjemmeside </a:t>
            </a:r>
          </a:p>
          <a:p>
            <a:r>
              <a:rPr lang="da-DK"/>
              <a:t>Energiløsninger og guider</a:t>
            </a:r>
          </a:p>
          <a:p>
            <a:r>
              <a:rPr lang="da-DK"/>
              <a:t>Beregningsprogrammer til besparelser og fugt </a:t>
            </a:r>
          </a:p>
          <a:p>
            <a:r>
              <a:rPr lang="da-DK"/>
              <a:t>Information om energikrav i BR18 m.m. </a:t>
            </a:r>
          </a:p>
          <a:p>
            <a:endParaRPr lang="da-DK" b="1"/>
          </a:p>
          <a:p>
            <a:pPr marL="0" indent="0">
              <a:buFont typeface="Arial" panose="020B0604020202020204" pitchFamily="34" charset="0"/>
              <a:buNone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75154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imumskrav i energiramm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21604F98-FAA3-C852-4ECF-BA13DED67D0B}"/>
              </a:ext>
            </a:extLst>
          </p:cNvPr>
          <p:cNvSpPr/>
          <p:nvPr/>
        </p:nvSpPr>
        <p:spPr>
          <a:xfrm>
            <a:off x="5920493" y="1944000"/>
            <a:ext cx="4939586" cy="31871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IBM Plex Sans" panose="020B0503050203000203" pitchFamily="34" charset="0"/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723E46F9-B3BF-2E3E-B792-0AABF3473178}"/>
              </a:ext>
            </a:extLst>
          </p:cNvPr>
          <p:cNvSpPr/>
          <p:nvPr/>
        </p:nvSpPr>
        <p:spPr>
          <a:xfrm>
            <a:off x="665929" y="1944000"/>
            <a:ext cx="4857940" cy="31871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IBM Plex Sans" panose="020B0503050203000203" pitchFamily="34" charset="0"/>
            </a:endParaRPr>
          </a:p>
        </p:txBody>
      </p:sp>
      <p:sp>
        <p:nvSpPr>
          <p:cNvPr id="21" name="Pladsholder til indhold 10">
            <a:extLst>
              <a:ext uri="{FF2B5EF4-FFF2-40B4-BE49-F238E27FC236}">
                <a16:creationId xmlns:a16="http://schemas.microsoft.com/office/drawing/2014/main" id="{B5AD318A-2B8C-AF11-A882-882B5AE6A74B}"/>
              </a:ext>
            </a:extLst>
          </p:cNvPr>
          <p:cNvSpPr txBox="1">
            <a:spLocks/>
          </p:cNvSpPr>
          <p:nvPr/>
        </p:nvSpPr>
        <p:spPr>
          <a:xfrm>
            <a:off x="881953" y="2264665"/>
            <a:ext cx="4506078" cy="2955307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/>
              <a:t>Boliger, kollegier, hoteller o.l.</a:t>
            </a:r>
            <a:endParaRPr lang="da-DK"/>
          </a:p>
          <a:p>
            <a:r>
              <a:rPr lang="da-DK"/>
              <a:t>Samlet energibehov i kWh/m</a:t>
            </a:r>
            <a:r>
              <a:rPr lang="da-DK" baseline="30000"/>
              <a:t>2 </a:t>
            </a:r>
            <a:r>
              <a:rPr lang="da-DK"/>
              <a:t>pr. år må højst være:</a:t>
            </a:r>
          </a:p>
        </p:txBody>
      </p:sp>
      <p:sp>
        <p:nvSpPr>
          <p:cNvPr id="22" name="Pladsholder til indhold 12">
            <a:extLst>
              <a:ext uri="{FF2B5EF4-FFF2-40B4-BE49-F238E27FC236}">
                <a16:creationId xmlns:a16="http://schemas.microsoft.com/office/drawing/2014/main" id="{E91CE6C5-C976-D0B7-2471-5C867999000E}"/>
              </a:ext>
            </a:extLst>
          </p:cNvPr>
          <p:cNvSpPr txBox="1">
            <a:spLocks/>
          </p:cNvSpPr>
          <p:nvPr/>
        </p:nvSpPr>
        <p:spPr>
          <a:xfrm>
            <a:off x="6113930" y="2268000"/>
            <a:ext cx="4678015" cy="2863132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/>
              <a:t>Kontorer, skoler og institutioner o.l.</a:t>
            </a:r>
            <a:endParaRPr lang="da-DK"/>
          </a:p>
          <a:p>
            <a:r>
              <a:rPr lang="da-DK"/>
              <a:t>Samlet energibehov i kWh/m</a:t>
            </a:r>
            <a:r>
              <a:rPr lang="da-DK" baseline="30000"/>
              <a:t>2 </a:t>
            </a:r>
            <a:r>
              <a:rPr lang="da-DK"/>
              <a:t>pr. år må højst være:</a:t>
            </a:r>
          </a:p>
          <a:p>
            <a:endParaRPr lang="da-DK" b="1"/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3ADAE242-A4DD-7353-BFA2-10FD85B842E0}"/>
              </a:ext>
            </a:extLst>
          </p:cNvPr>
          <p:cNvGrpSpPr/>
          <p:nvPr/>
        </p:nvGrpSpPr>
        <p:grpSpPr>
          <a:xfrm>
            <a:off x="1559857" y="3897212"/>
            <a:ext cx="3630803" cy="961103"/>
            <a:chOff x="1260560" y="4437112"/>
            <a:chExt cx="3283148" cy="793544"/>
          </a:xfrm>
        </p:grpSpPr>
        <p:sp>
          <p:nvSpPr>
            <p:cNvPr id="24" name="Tekstboks 2">
              <a:extLst>
                <a:ext uri="{FF2B5EF4-FFF2-40B4-BE49-F238E27FC236}">
                  <a16:creationId xmlns:a16="http://schemas.microsoft.com/office/drawing/2014/main" id="{F968F8AA-C13A-74A4-E198-3294B136522B}"/>
                </a:ext>
              </a:extLst>
            </p:cNvPr>
            <p:cNvSpPr txBox="1"/>
            <p:nvPr/>
          </p:nvSpPr>
          <p:spPr>
            <a:xfrm>
              <a:off x="2671500" y="4830546"/>
              <a:ext cx="18722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2000" b="1">
                  <a:solidFill>
                    <a:srgbClr val="000000"/>
                  </a:solidFill>
                  <a:latin typeface="IBM Plex Sans SemiBold" panose="020B0503050203000203" pitchFamily="34" charset="0"/>
                </a:rPr>
                <a:t>etageareal</a:t>
              </a:r>
            </a:p>
          </p:txBody>
        </p:sp>
        <p:sp>
          <p:nvSpPr>
            <p:cNvPr id="25" name="Tekstboks 3">
              <a:extLst>
                <a:ext uri="{FF2B5EF4-FFF2-40B4-BE49-F238E27FC236}">
                  <a16:creationId xmlns:a16="http://schemas.microsoft.com/office/drawing/2014/main" id="{A0064748-9C7C-9F0C-AA68-A9655E6267BC}"/>
                </a:ext>
              </a:extLst>
            </p:cNvPr>
            <p:cNvSpPr txBox="1"/>
            <p:nvPr/>
          </p:nvSpPr>
          <p:spPr>
            <a:xfrm>
              <a:off x="1260560" y="4437112"/>
              <a:ext cx="2951399" cy="3303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2000" b="1">
                  <a:solidFill>
                    <a:srgbClr val="000000"/>
                  </a:solidFill>
                  <a:latin typeface="IBM Plex Sans SemiBold" panose="020B0503050203000203" pitchFamily="34" charset="0"/>
                </a:rPr>
                <a:t>30 kWh/m² +    1.000</a:t>
              </a: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DBC03DAE-DA3E-21E8-EF8A-01D91ED57323}"/>
              </a:ext>
            </a:extLst>
          </p:cNvPr>
          <p:cNvGrpSpPr/>
          <p:nvPr/>
        </p:nvGrpSpPr>
        <p:grpSpPr>
          <a:xfrm>
            <a:off x="6772697" y="3852212"/>
            <a:ext cx="3724454" cy="972000"/>
            <a:chOff x="1211134" y="4437112"/>
            <a:chExt cx="3299359" cy="802541"/>
          </a:xfrm>
        </p:grpSpPr>
        <p:sp>
          <p:nvSpPr>
            <p:cNvPr id="27" name="Tekstboks 14">
              <a:extLst>
                <a:ext uri="{FF2B5EF4-FFF2-40B4-BE49-F238E27FC236}">
                  <a16:creationId xmlns:a16="http://schemas.microsoft.com/office/drawing/2014/main" id="{44DF2EF3-D966-57E8-2E52-848E903AA48E}"/>
                </a:ext>
              </a:extLst>
            </p:cNvPr>
            <p:cNvSpPr txBox="1"/>
            <p:nvPr/>
          </p:nvSpPr>
          <p:spPr>
            <a:xfrm>
              <a:off x="2638285" y="4839543"/>
              <a:ext cx="18722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2000" b="1">
                  <a:solidFill>
                    <a:srgbClr val="000000"/>
                  </a:solidFill>
                  <a:latin typeface="IBM Plex Sans SemiBold" panose="020B0503050203000203" pitchFamily="34" charset="0"/>
                </a:rPr>
                <a:t>etageareal</a:t>
              </a:r>
            </a:p>
          </p:txBody>
        </p:sp>
        <p:sp>
          <p:nvSpPr>
            <p:cNvPr id="28" name="Tekstboks 15">
              <a:extLst>
                <a:ext uri="{FF2B5EF4-FFF2-40B4-BE49-F238E27FC236}">
                  <a16:creationId xmlns:a16="http://schemas.microsoft.com/office/drawing/2014/main" id="{A2BECD2E-5660-AFC1-2761-37D8950C5893}"/>
                </a:ext>
              </a:extLst>
            </p:cNvPr>
            <p:cNvSpPr txBox="1"/>
            <p:nvPr/>
          </p:nvSpPr>
          <p:spPr>
            <a:xfrm>
              <a:off x="1211134" y="4437112"/>
              <a:ext cx="3000827" cy="3303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2000" b="1">
                  <a:solidFill>
                    <a:srgbClr val="000000"/>
                  </a:solidFill>
                  <a:latin typeface="IBM Plex Sans SemiBold" panose="020B0503050203000203" pitchFamily="34" charset="0"/>
                </a:rPr>
                <a:t>41 kWh/m² +    1.000</a:t>
              </a:r>
            </a:p>
          </p:txBody>
        </p:sp>
      </p:grp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BB8A3765-D237-0EB0-099C-90F10BB8455B}"/>
              </a:ext>
            </a:extLst>
          </p:cNvPr>
          <p:cNvCxnSpPr>
            <a:cxnSpLocks/>
          </p:cNvCxnSpPr>
          <p:nvPr/>
        </p:nvCxnSpPr>
        <p:spPr>
          <a:xfrm>
            <a:off x="3079722" y="4364755"/>
            <a:ext cx="1584626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E0A13414-EC26-459A-4B4A-F69C018503AC}"/>
              </a:ext>
            </a:extLst>
          </p:cNvPr>
          <p:cNvCxnSpPr>
            <a:cxnSpLocks/>
          </p:cNvCxnSpPr>
          <p:nvPr/>
        </p:nvCxnSpPr>
        <p:spPr>
          <a:xfrm>
            <a:off x="8186626" y="4364755"/>
            <a:ext cx="1584626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Billede 32">
            <a:extLst>
              <a:ext uri="{FF2B5EF4-FFF2-40B4-BE49-F238E27FC236}">
                <a16:creationId xmlns:a16="http://schemas.microsoft.com/office/drawing/2014/main" id="{698D9D95-BFF6-05A9-A254-6804E7697B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78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nergirammeberegning – hvordan gør man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3999"/>
            <a:ext cx="5932094" cy="2970001"/>
          </a:xfrm>
        </p:spPr>
        <p:txBody>
          <a:bodyPr/>
          <a:lstStyle/>
          <a:p>
            <a:r>
              <a:rPr lang="da-DK"/>
              <a:t>Udføres typisk af bygningskonstruktør eller bygningsingeniør</a:t>
            </a:r>
          </a:p>
          <a:p>
            <a:r>
              <a:rPr lang="da-DK"/>
              <a:t>Baseres på beregningskernen Be18 og programmer baseret på den</a:t>
            </a:r>
          </a:p>
          <a:p>
            <a:r>
              <a:rPr lang="da-DK"/>
              <a:t>Skal indsendes til kommunen sammen med ansøgning om byggetilladelse – gælder også for tilbygninger, hvis energirammeberegning benyttes</a:t>
            </a:r>
          </a:p>
          <a:p>
            <a:r>
              <a:rPr lang="da-DK"/>
              <a:t>Når tilladelsen er givet, og byggeriet opført: </a:t>
            </a:r>
          </a:p>
          <a:p>
            <a:pPr lvl="1"/>
            <a:r>
              <a:rPr lang="da-DK"/>
              <a:t>så er beregningen sammen med energimærke = dokumentation for, at bygningen overholder energikravene i B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A2A99C1C-9D49-7500-C130-0EAE18E845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0"/>
          <a:stretch/>
        </p:blipFill>
        <p:spPr>
          <a:xfrm>
            <a:off x="7019262" y="1943999"/>
            <a:ext cx="4524652" cy="4212543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617D0C80-BF2C-ED84-D879-78D18735A7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9729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kærpede krav til transmissionstab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1943999"/>
            <a:ext cx="8791835" cy="395789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NYT: Krav skal nu beregnes – var tidligere en fast værd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graphicFrame>
        <p:nvGraphicFramePr>
          <p:cNvPr id="11" name="Tabel 10">
            <a:extLst>
              <a:ext uri="{FF2B5EF4-FFF2-40B4-BE49-F238E27FC236}">
                <a16:creationId xmlns:a16="http://schemas.microsoft.com/office/drawing/2014/main" id="{BA2897CF-D3A2-BE5F-6347-DC9A006988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84613"/>
              </p:ext>
            </p:extLst>
          </p:nvPr>
        </p:nvGraphicFramePr>
        <p:xfrm>
          <a:off x="647999" y="3117844"/>
          <a:ext cx="10701190" cy="246019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6703061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998129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615049">
                <a:tc gridSpan="2"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Max. dimensionerende transmissionstab i W pr. m</a:t>
                      </a:r>
                      <a:r>
                        <a:rPr lang="da-DK" sz="1600" b="0" i="0" kern="1200" baseline="300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da-DK" sz="1600" b="0" i="0" kern="12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etageareal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or nybyggeri efter standardkrav i BR18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2,0+6,0/E+300/A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or nybyggeri efter den frivillige lavenergiklasse i BR18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1,0+6,0/E+300/A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5049">
                <a:tc gridSpan="2"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Der er et tillæg på 1,0 W/m² pr. meter gennemsnitlig rumhøjde over 4,0 meter.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  <p:sp>
        <p:nvSpPr>
          <p:cNvPr id="13" name="Pladsholder til indhold 2">
            <a:extLst>
              <a:ext uri="{FF2B5EF4-FFF2-40B4-BE49-F238E27FC236}">
                <a16:creationId xmlns:a16="http://schemas.microsoft.com/office/drawing/2014/main" id="{47570210-C5FA-72E7-529D-0D6814756A97}"/>
              </a:ext>
            </a:extLst>
          </p:cNvPr>
          <p:cNvSpPr txBox="1">
            <a:spLocks/>
          </p:cNvSpPr>
          <p:nvPr/>
        </p:nvSpPr>
        <p:spPr>
          <a:xfrm>
            <a:off x="647999" y="5782621"/>
            <a:ext cx="7967083" cy="7387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200">
                <a:effectLst/>
              </a:rPr>
              <a:t>E er antallet af etager. A er det opvarmede etageareal. Antallet af etager (E) udregnes som opvarmet etageareal divideret med bebygget areal og bliver herved et decimaltal. Opvarmet kælder, der ikke indgår i etagearealet, medregnes med 40 pct. i antal etager og det opvarmede etageareal.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3D9B4DB3-9056-C293-28C9-D08D279896F4}"/>
              </a:ext>
            </a:extLst>
          </p:cNvPr>
          <p:cNvSpPr txBox="1">
            <a:spLocks/>
          </p:cNvSpPr>
          <p:nvPr/>
        </p:nvSpPr>
        <p:spPr>
          <a:xfrm>
            <a:off x="647999" y="2617568"/>
            <a:ext cx="10896000" cy="3957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>
                <a:solidFill>
                  <a:srgbClr val="000000"/>
                </a:solidFill>
                <a:latin typeface="IBM Plex Sans" panose="020B0503050203000203" pitchFamily="34" charset="0"/>
              </a:rPr>
              <a:t>BR-krav i § 264 og § 476 til dimensionerende transmissionstab - inklusiv vinduer og døre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57977A28-8A41-D14D-04CD-EEBA7A7413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4212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Energirammen</a:t>
            </a:r>
          </a:p>
          <a:p>
            <a:pPr marL="0" indent="0">
              <a:buNone/>
            </a:pPr>
            <a:r>
              <a:rPr lang="da-DK" sz="2000" b="1">
                <a:solidFill>
                  <a:srgbClr val="000000"/>
                </a:solidFill>
              </a:rPr>
              <a:t>Dimensionerende transmissionstab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Generelle mindstekrav til klimaskærm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Lufttæthed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E2435F3-F62E-C2D2-E7A4-E2A99ACB5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645" y="599976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17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imensionerende temperatur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61147" y="1837024"/>
            <a:ext cx="2079811" cy="2071588"/>
          </a:xfrm>
        </p:spPr>
        <p:txBody>
          <a:bodyPr/>
          <a:lstStyle/>
          <a:p>
            <a:pPr marL="0" indent="0">
              <a:buNone/>
            </a:pPr>
            <a:r>
              <a:rPr lang="da-DK" sz="1400" b="1"/>
              <a:t>EKSEMPEL</a:t>
            </a:r>
          </a:p>
          <a:p>
            <a:pPr marL="0" indent="0">
              <a:buNone/>
            </a:pPr>
            <a:r>
              <a:rPr lang="da-DK" sz="1400"/>
              <a:t>Nyt BR18 enfamiliehus</a:t>
            </a:r>
          </a:p>
          <a:p>
            <a:pPr marL="0" indent="0">
              <a:buNone/>
            </a:pPr>
            <a:r>
              <a:rPr lang="da-DK" sz="1400"/>
              <a:t>Beregning efter DS 418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4B881DC6-80B4-17AB-202B-6A0D8C70CA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62FD279F-97EA-99F0-A299-F0C633B66F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927859"/>
              </p:ext>
            </p:extLst>
          </p:nvPr>
        </p:nvGraphicFramePr>
        <p:xfrm>
          <a:off x="647999" y="1837024"/>
          <a:ext cx="8471989" cy="4609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6547">
                  <a:extLst>
                    <a:ext uri="{9D8B030D-6E8A-4147-A177-3AD203B41FA5}">
                      <a16:colId xmlns:a16="http://schemas.microsoft.com/office/drawing/2014/main" val="1201952477"/>
                    </a:ext>
                  </a:extLst>
                </a:gridCol>
                <a:gridCol w="1432415">
                  <a:extLst>
                    <a:ext uri="{9D8B030D-6E8A-4147-A177-3AD203B41FA5}">
                      <a16:colId xmlns:a16="http://schemas.microsoft.com/office/drawing/2014/main" val="1140236238"/>
                    </a:ext>
                  </a:extLst>
                </a:gridCol>
                <a:gridCol w="910441">
                  <a:extLst>
                    <a:ext uri="{9D8B030D-6E8A-4147-A177-3AD203B41FA5}">
                      <a16:colId xmlns:a16="http://schemas.microsoft.com/office/drawing/2014/main" val="2382968546"/>
                    </a:ext>
                  </a:extLst>
                </a:gridCol>
                <a:gridCol w="243429">
                  <a:extLst>
                    <a:ext uri="{9D8B030D-6E8A-4147-A177-3AD203B41FA5}">
                      <a16:colId xmlns:a16="http://schemas.microsoft.com/office/drawing/2014/main" val="3638059471"/>
                    </a:ext>
                  </a:extLst>
                </a:gridCol>
                <a:gridCol w="1532531">
                  <a:extLst>
                    <a:ext uri="{9D8B030D-6E8A-4147-A177-3AD203B41FA5}">
                      <a16:colId xmlns:a16="http://schemas.microsoft.com/office/drawing/2014/main" val="572914570"/>
                    </a:ext>
                  </a:extLst>
                </a:gridCol>
                <a:gridCol w="2086626">
                  <a:extLst>
                    <a:ext uri="{9D8B030D-6E8A-4147-A177-3AD203B41FA5}">
                      <a16:colId xmlns:a16="http://schemas.microsoft.com/office/drawing/2014/main" val="4120299469"/>
                    </a:ext>
                  </a:extLst>
                </a:gridCol>
              </a:tblGrid>
              <a:tr h="516094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Bygningsdel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Areal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U -værdi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Dimensionerende </a:t>
                      </a:r>
                    </a:p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emperatur (</a:t>
                      </a:r>
                      <a:r>
                        <a:rPr lang="el-GR" sz="11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Δ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 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Dim .Transmissionstab =</a:t>
                      </a:r>
                    </a:p>
                    <a:p>
                      <a:pPr algn="ctr" fontAlgn="b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Areal x U x </a:t>
                      </a:r>
                      <a:r>
                        <a:rPr lang="el-GR" sz="1100" b="1" i="0" u="none" strike="noStrike" kern="120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Δ</a:t>
                      </a:r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 </a:t>
                      </a:r>
                      <a:endParaRPr lang="da-DK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315417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m²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W /m²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K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W 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689324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Ydervæg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11,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0,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642,2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2277737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Loft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49,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574,5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2487253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errændæk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28,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56,8</a:t>
                      </a:r>
                      <a:endParaRPr lang="da-DK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3815232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Vinduer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,4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974,4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3275352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Yderdør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74,4</a:t>
                      </a:r>
                      <a:endParaRPr lang="da-DK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159018"/>
                  </a:ext>
                </a:extLst>
              </a:tr>
              <a:tr h="140850">
                <a:tc>
                  <a:txBody>
                    <a:bodyPr/>
                    <a:lstStyle/>
                    <a:p>
                      <a:pPr algn="l" fontAlgn="b"/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8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5962436"/>
                  </a:ext>
                </a:extLst>
              </a:tr>
              <a:tr h="413542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Linjetab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Længde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az-Cyrl-A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ч-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værdi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Δ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Dim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 .Transmissionstab =</a:t>
                      </a:r>
                    </a:p>
                    <a:p>
                      <a:pPr algn="ctr" fontAlgn="b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Længde x 4x </a:t>
                      </a:r>
                      <a:r>
                        <a:rPr lang="el-GR" sz="11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Δ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T 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9F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600582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m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W /mK K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W 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972543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Vinduer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F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F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F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F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77,8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F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072793"/>
                  </a:ext>
                </a:extLst>
              </a:tr>
              <a:tr h="258048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Fundamenter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53,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0,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69,6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939935"/>
                  </a:ext>
                </a:extLst>
              </a:tr>
              <a:tr h="148893">
                <a:tc>
                  <a:txBody>
                    <a:bodyPr/>
                    <a:lstStyle/>
                    <a:p>
                      <a:pPr algn="l" fontAlgn="b"/>
                      <a:endParaRPr lang="da-DK" sz="800" b="0" i="0" u="none" strike="noStrike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800" b="0" i="0" u="none" strike="noStrike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800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8441973"/>
                  </a:ext>
                </a:extLst>
              </a:tr>
              <a:tr h="2865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IBM Plex Sans" panose="020B0503050203000203" pitchFamily="34" charset="0"/>
                        </a:rPr>
                        <a:t>I alt 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B2D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a-DK" sz="1100" b="1" i="0" u="none" strike="noStrike">
                        <a:solidFill>
                          <a:schemeClr val="bg1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B2D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1" i="0" u="none" strike="noStrike">
                          <a:solidFill>
                            <a:schemeClr val="bg1"/>
                          </a:solidFill>
                          <a:effectLst/>
                          <a:latin typeface="IBM Plex Sans" panose="020B050305020300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B2D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da-DK" sz="1100" b="1" i="0" u="none" strike="noStrike" dirty="0">
                        <a:solidFill>
                          <a:schemeClr val="bg1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B2D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IBM Plex Sans" panose="020B0503050203000203" pitchFamily="34" charset="0"/>
                        </a:rPr>
                        <a:t>2970,0</a:t>
                      </a:r>
                      <a:endParaRPr lang="da-DK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B2D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6620808"/>
                  </a:ext>
                </a:extLst>
              </a:tr>
              <a:tr h="165704">
                <a:tc>
                  <a:txBody>
                    <a:bodyPr/>
                    <a:lstStyle/>
                    <a:p>
                      <a:pPr algn="l" fontAlgn="b"/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da-DK" sz="8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6257359"/>
                  </a:ext>
                </a:extLst>
              </a:tr>
              <a:tr h="286523">
                <a:tc gridSpan="3"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Beregnet dimensionerende transmissionstab 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970,0/149,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9,9W /m²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441097"/>
                  </a:ext>
                </a:extLst>
              </a:tr>
              <a:tr h="328716">
                <a:tc gridSpan="3"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Max .krav til dimensionerende transmissionstab </a:t>
                      </a:r>
                    </a:p>
                  </a:txBody>
                  <a:tcPr marL="72000" marR="9525" marT="9525" marB="0" anchor="ctr">
                    <a:lnL w="12700" cmpd="sng">
                      <a:noFill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126,0/1300/149,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20W /m²  </a:t>
                      </a:r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</a:rPr>
                        <a:t>✓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6139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31300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5748E4A-FBA7-9CC7-8F60-28D266C703FD}"/>
              </a:ext>
            </a:extLst>
          </p:cNvPr>
          <p:cNvSpPr/>
          <p:nvPr/>
        </p:nvSpPr>
        <p:spPr>
          <a:xfrm>
            <a:off x="0" y="2648607"/>
            <a:ext cx="12192000" cy="4209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imensionerende temperatur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61147" y="1837024"/>
            <a:ext cx="2079811" cy="2071588"/>
          </a:xfrm>
        </p:spPr>
        <p:txBody>
          <a:bodyPr/>
          <a:lstStyle/>
          <a:p>
            <a:pPr marL="0" indent="0">
              <a:buNone/>
            </a:pPr>
            <a:r>
              <a:rPr lang="da-DK" sz="1400"/>
              <a:t>Sum af det samlede varmetransmissionstab gennem klimaskærmen</a:t>
            </a:r>
            <a:br>
              <a:rPr lang="da-DK" sz="1400"/>
            </a:br>
            <a:endParaRPr lang="da-DK" sz="1400"/>
          </a:p>
          <a:p>
            <a:pPr marL="0" indent="0">
              <a:buNone/>
            </a:pPr>
            <a:r>
              <a:rPr lang="da-DK" sz="1400"/>
              <a:t>Dimensionerende temperaturer efter DS 418, Beregning af bygningers varmetab. </a:t>
            </a:r>
          </a:p>
          <a:p>
            <a:pPr marL="0" indent="0">
              <a:buNone/>
            </a:pPr>
            <a:endParaRPr lang="da-DK" sz="140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BD11E3C-8E36-B1E6-E3D5-EAAA44A4BF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2371" y="1837024"/>
            <a:ext cx="7071169" cy="4775529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E29A12E0-2E9F-80D2-2C8E-48A2A1EFDE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7156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Energirammen</a:t>
            </a:r>
          </a:p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Dimensionerende transmissionstab</a:t>
            </a:r>
          </a:p>
          <a:p>
            <a:pPr marL="0" indent="0">
              <a:buNone/>
            </a:pPr>
            <a:r>
              <a:rPr lang="da-DK" sz="2000" b="1">
                <a:solidFill>
                  <a:srgbClr val="000000"/>
                </a:solidFill>
              </a:rPr>
              <a:t>Generelle mindstekrav til klimaskærm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Lufttæthed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FDB5DA23-E525-4DB1-9C60-680CB4208F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0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dstekrav til klimaskærm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BD11E3C-8E36-B1E6-E3D5-EAAA44A4BF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569"/>
          <a:stretch/>
        </p:blipFill>
        <p:spPr>
          <a:xfrm>
            <a:off x="647999" y="1711546"/>
            <a:ext cx="9237018" cy="4778661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1F219BF2-B7C2-BF66-A340-60242423B1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3615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Begreb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996DE40-F879-BB3C-BB6E-F079662711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286000" cy="42660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U-værdi</a:t>
            </a:r>
            <a:r>
              <a:rPr lang="da-DK"/>
              <a:t> </a:t>
            </a:r>
          </a:p>
          <a:p>
            <a:pPr marL="0" indent="0">
              <a:buNone/>
            </a:pPr>
            <a:r>
              <a:rPr lang="da-DK" err="1"/>
              <a:t>Varmemængde</a:t>
            </a:r>
            <a:r>
              <a:rPr lang="da-DK"/>
              <a:t>, målt i W/m²K, der transmitteres (tabes) til udeklimaet – når temperaturforskellen mellem den indvendige og udvendige overflade er 1°C.</a:t>
            </a:r>
            <a:br>
              <a:rPr lang="da-DK"/>
            </a:br>
            <a:br>
              <a:rPr lang="da-DK"/>
            </a:br>
            <a:r>
              <a:rPr lang="da-DK" b="1"/>
              <a:t>Jo lavere U-værdi, desto lavere varmetab</a:t>
            </a:r>
          </a:p>
          <a:p>
            <a:endParaRPr lang="da-DK"/>
          </a:p>
        </p:txBody>
      </p:sp>
      <p:sp>
        <p:nvSpPr>
          <p:cNvPr id="6" name="Pladsholder til indhold 3">
            <a:extLst>
              <a:ext uri="{FF2B5EF4-FFF2-40B4-BE49-F238E27FC236}">
                <a16:creationId xmlns:a16="http://schemas.microsoft.com/office/drawing/2014/main" id="{4D0E3AA3-0C1D-0212-0CE9-103C09565F2A}"/>
              </a:ext>
            </a:extLst>
          </p:cNvPr>
          <p:cNvSpPr txBox="1">
            <a:spLocks/>
          </p:cNvSpPr>
          <p:nvPr/>
        </p:nvSpPr>
        <p:spPr>
          <a:xfrm>
            <a:off x="6257914" y="1944000"/>
            <a:ext cx="528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 cap="all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 sz="2000" b="1" cap="none"/>
              <a:t>Linjetab</a:t>
            </a:r>
            <a:r>
              <a:rPr lang="da-DK" sz="2000" cap="none"/>
              <a:t> </a:t>
            </a:r>
          </a:p>
          <a:p>
            <a:r>
              <a:rPr lang="da-DK" sz="2000" cap="none"/>
              <a:t>Det ekstra varmetab som opstår i samlingen mellem konstruktionsdele i klimaskærmen – fx mellem ydervæg og vindue. Ydervæggen og vinduet har hver sin selvstændige u-værdi, men i samlingen mellem dem forekommer et ekstra varmetab. </a:t>
            </a:r>
            <a:br>
              <a:rPr lang="da-DK" sz="2000" cap="none"/>
            </a:br>
            <a:br>
              <a:rPr lang="da-DK" sz="2000" cap="none"/>
            </a:br>
            <a:r>
              <a:rPr lang="da-DK" sz="2000" cap="none"/>
              <a:t>Linjetab angives med det græske bogstav </a:t>
            </a:r>
            <a:br>
              <a:rPr lang="da-DK" sz="2000" cap="none"/>
            </a:br>
            <a:r>
              <a:rPr lang="da-DK" sz="2000" cap="none"/>
              <a:t>psi </a:t>
            </a:r>
            <a:r>
              <a:rPr lang="el-GR" sz="2000" cap="none"/>
              <a:t>Ψ </a:t>
            </a:r>
            <a:r>
              <a:rPr lang="da-DK" sz="2000" cap="none"/>
              <a:t>med enheden W/mk.</a:t>
            </a:r>
          </a:p>
          <a:p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4D95D44A-AC24-8E75-466C-D9FC1182911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5256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vinduer og glasydervægg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Alle kategorier</a:t>
            </a:r>
          </a:p>
        </p:txBody>
      </p:sp>
      <p:sp>
        <p:nvSpPr>
          <p:cNvPr id="20" name="Pladsholder til indhold 19">
            <a:extLst>
              <a:ext uri="{FF2B5EF4-FFF2-40B4-BE49-F238E27FC236}">
                <a16:creationId xmlns:a16="http://schemas.microsoft.com/office/drawing/2014/main" id="{463AA8F4-CD34-A68F-D4B6-26305A87A0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2809903" cy="2262916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BR18</a:t>
            </a:r>
          </a:p>
          <a:p>
            <a:pPr marL="0" indent="0">
              <a:buNone/>
            </a:pPr>
            <a:r>
              <a:rPr lang="da-DK" err="1"/>
              <a:t>E</a:t>
            </a:r>
            <a:r>
              <a:rPr lang="da-DK" baseline="-25000" err="1"/>
              <a:t>ref</a:t>
            </a:r>
            <a:r>
              <a:rPr lang="da-DK"/>
              <a:t> </a:t>
            </a:r>
            <a:r>
              <a:rPr lang="da-DK" b="0" i="0" u="none" strike="noStrike">
                <a:solidFill>
                  <a:srgbClr val="000000"/>
                </a:solidFill>
                <a:effectLst/>
              </a:rPr>
              <a:t>≥ -7 kWh/m</a:t>
            </a:r>
            <a:r>
              <a:rPr lang="da-DK" b="0" i="0" u="none" strike="noStrike" baseline="30000">
                <a:solidFill>
                  <a:srgbClr val="000000"/>
                </a:solidFill>
                <a:effectLst/>
              </a:rPr>
              <a:t>2</a:t>
            </a:r>
            <a:r>
              <a:rPr lang="da-DK" b="0" i="0" u="none" strike="noStrike">
                <a:solidFill>
                  <a:srgbClr val="000000"/>
                </a:solidFill>
                <a:effectLst/>
              </a:rPr>
              <a:t> pr</a:t>
            </a:r>
            <a:r>
              <a:rPr lang="da-DK">
                <a:solidFill>
                  <a:srgbClr val="000000"/>
                </a:solidFill>
              </a:rPr>
              <a:t>. år</a:t>
            </a:r>
          </a:p>
          <a:p>
            <a:pPr marL="0" indent="0">
              <a:buNone/>
            </a:pPr>
            <a:r>
              <a:rPr lang="da-DK">
                <a:solidFill>
                  <a:srgbClr val="000000"/>
                </a:solidFill>
              </a:rPr>
              <a:t>Energimærke</a:t>
            </a:r>
            <a:br>
              <a:rPr lang="da-DK">
                <a:solidFill>
                  <a:srgbClr val="000000"/>
                </a:solidFill>
              </a:rPr>
            </a:br>
            <a:r>
              <a:rPr lang="da-DK">
                <a:solidFill>
                  <a:srgbClr val="000000"/>
                </a:solidFill>
              </a:rPr>
              <a:t> </a:t>
            </a:r>
          </a:p>
          <a:p>
            <a:pPr marL="0" indent="0">
              <a:buNone/>
            </a:pPr>
            <a:r>
              <a:rPr lang="da-DK">
                <a:solidFill>
                  <a:srgbClr val="000000"/>
                </a:solidFill>
              </a:rPr>
              <a:t>U ≈ 1,1 W/m2 K</a:t>
            </a:r>
            <a:endParaRPr lang="da-DK"/>
          </a:p>
        </p:txBody>
      </p:sp>
      <p:sp>
        <p:nvSpPr>
          <p:cNvPr id="21" name="Pladsholder til indhold 20">
            <a:extLst>
              <a:ext uri="{FF2B5EF4-FFF2-40B4-BE49-F238E27FC236}">
                <a16:creationId xmlns:a16="http://schemas.microsoft.com/office/drawing/2014/main" id="{D5B0AAF8-8F0E-9453-F451-6C85516132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87261" y="1944000"/>
            <a:ext cx="3170891" cy="2262916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BR18 </a:t>
            </a:r>
            <a:r>
              <a:rPr lang="da-DK" dirty="0"/>
              <a:t>bygningsklasse 2020</a:t>
            </a:r>
          </a:p>
          <a:p>
            <a:pPr marL="0" indent="0">
              <a:buNone/>
            </a:pPr>
            <a:r>
              <a:rPr lang="da-DK" dirty="0" err="1"/>
              <a:t>E</a:t>
            </a:r>
            <a:r>
              <a:rPr lang="da-DK" baseline="-25000" dirty="0" err="1"/>
              <a:t>ref</a:t>
            </a:r>
            <a:r>
              <a:rPr lang="da-DK" dirty="0"/>
              <a:t> </a:t>
            </a:r>
            <a:r>
              <a:rPr lang="da-DK" b="0" i="0" u="none" strike="noStrike" dirty="0">
                <a:solidFill>
                  <a:srgbClr val="000000"/>
                </a:solidFill>
                <a:effectLst/>
              </a:rPr>
              <a:t>≥ 0 kWh/m</a:t>
            </a:r>
            <a:r>
              <a:rPr lang="da-DK" b="0" i="0" u="none" strike="noStrike" baseline="30000" dirty="0">
                <a:solidFill>
                  <a:srgbClr val="000000"/>
                </a:solidFill>
                <a:effectLst/>
              </a:rPr>
              <a:t>2</a:t>
            </a:r>
            <a:r>
              <a:rPr lang="da-DK" b="0" i="0" u="none" strike="noStrike" dirty="0">
                <a:solidFill>
                  <a:srgbClr val="000000"/>
                </a:solidFill>
                <a:effectLst/>
              </a:rPr>
              <a:t> pr</a:t>
            </a:r>
            <a:r>
              <a:rPr lang="da-DK" dirty="0">
                <a:solidFill>
                  <a:srgbClr val="000000"/>
                </a:solidFill>
              </a:rPr>
              <a:t>. år</a:t>
            </a:r>
          </a:p>
          <a:p>
            <a:pPr marL="0" indent="0">
              <a:buNone/>
            </a:pPr>
            <a:r>
              <a:rPr lang="da-DK" dirty="0">
                <a:solidFill>
                  <a:srgbClr val="000000"/>
                </a:solidFill>
              </a:rPr>
              <a:t>Energimærke</a:t>
            </a:r>
            <a:br>
              <a:rPr lang="da-DK" dirty="0">
                <a:solidFill>
                  <a:srgbClr val="000000"/>
                </a:solidFill>
              </a:rPr>
            </a:br>
            <a:r>
              <a:rPr lang="da-DK" dirty="0">
                <a:solidFill>
                  <a:srgbClr val="000000"/>
                </a:solidFill>
              </a:rPr>
              <a:t> </a:t>
            </a:r>
          </a:p>
          <a:p>
            <a:pPr marL="0" indent="0">
              <a:buNone/>
            </a:pPr>
            <a:r>
              <a:rPr lang="da-DK" dirty="0">
                <a:solidFill>
                  <a:srgbClr val="000000"/>
                </a:solidFill>
              </a:rPr>
              <a:t>U ≈ 0,8 W/m</a:t>
            </a:r>
            <a:r>
              <a:rPr lang="da-DK" baseline="30000" dirty="0">
                <a:solidFill>
                  <a:srgbClr val="000000"/>
                </a:solidFill>
              </a:rPr>
              <a:t>2</a:t>
            </a:r>
            <a:r>
              <a:rPr lang="da-DK" dirty="0">
                <a:solidFill>
                  <a:srgbClr val="000000"/>
                </a:solidFill>
              </a:rPr>
              <a:t> K</a:t>
            </a:r>
            <a:endParaRPr lang="da-DK" dirty="0"/>
          </a:p>
          <a:p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E2435F3-F62E-C2D2-E7A4-E2A99ACB5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24A4B8D-B35C-D5AF-FF30-40E520D4AC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595"/>
          <a:stretch/>
        </p:blipFill>
        <p:spPr>
          <a:xfrm>
            <a:off x="1003599" y="285636"/>
            <a:ext cx="255215" cy="250657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4F17A6-676F-8855-825A-A6C6328A1B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9199" y="317538"/>
            <a:ext cx="255215" cy="218755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14A00FD-F26B-5B73-6332-BEC5672AB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4340" y="286200"/>
            <a:ext cx="248399" cy="253469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ECA8CB50-8B40-46CB-3E17-A4CF449B4B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5790" y="298289"/>
            <a:ext cx="271546" cy="250657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A40D3517-F95C-418E-2E4B-4DAD359DE5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1969" y="266955"/>
            <a:ext cx="271546" cy="281991"/>
          </a:xfrm>
          <a:prstGeom prst="rect">
            <a:avLst/>
          </a:prstGeom>
        </p:spPr>
      </p:pic>
      <p:pic>
        <p:nvPicPr>
          <p:cNvPr id="23" name="Pladsholder til billede 8">
            <a:extLst>
              <a:ext uri="{FF2B5EF4-FFF2-40B4-BE49-F238E27FC236}">
                <a16:creationId xmlns:a16="http://schemas.microsoft.com/office/drawing/2014/main" id="{3050B012-661D-51B8-E1D1-5EC331C27C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383" y="3208631"/>
            <a:ext cx="1261242" cy="357353"/>
          </a:xfrm>
          <a:prstGeom prst="rect">
            <a:avLst/>
          </a:prstGeom>
        </p:spPr>
      </p:pic>
      <p:pic>
        <p:nvPicPr>
          <p:cNvPr id="24" name="Pladsholder til billede 8">
            <a:extLst>
              <a:ext uri="{FF2B5EF4-FFF2-40B4-BE49-F238E27FC236}">
                <a16:creationId xmlns:a16="http://schemas.microsoft.com/office/drawing/2014/main" id="{7470DA9A-08D3-DB93-1BCF-55C866B7F5D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7260" y="3208631"/>
            <a:ext cx="1261242" cy="357353"/>
          </a:xfrm>
          <a:prstGeom prst="rect">
            <a:avLst/>
          </a:prstGeom>
        </p:spPr>
      </p:pic>
      <p:sp>
        <p:nvSpPr>
          <p:cNvPr id="25" name="Pladsholder til indhold 19">
            <a:extLst>
              <a:ext uri="{FF2B5EF4-FFF2-40B4-BE49-F238E27FC236}">
                <a16:creationId xmlns:a16="http://schemas.microsoft.com/office/drawing/2014/main" id="{9B86D73E-5E7D-7515-6210-3004E6ED77EB}"/>
              </a:ext>
            </a:extLst>
          </p:cNvPr>
          <p:cNvSpPr txBox="1">
            <a:spLocks/>
          </p:cNvSpPr>
          <p:nvPr/>
        </p:nvSpPr>
        <p:spPr>
          <a:xfrm>
            <a:off x="648000" y="4329848"/>
            <a:ext cx="6110152" cy="2032910"/>
          </a:xfrm>
          <a:prstGeom prst="rect">
            <a:avLst/>
          </a:prstGeom>
          <a:solidFill>
            <a:schemeClr val="bg2"/>
          </a:solidFill>
        </p:spPr>
        <p:txBody>
          <a:bodyPr vert="horz" lIns="288000" tIns="288000" rIns="288000" bIns="288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000" err="1">
                <a:solidFill>
                  <a:schemeClr val="tx1"/>
                </a:solidFill>
              </a:rPr>
              <a:t>E</a:t>
            </a:r>
            <a:r>
              <a:rPr lang="da-DK" sz="2000" baseline="-25000" err="1">
                <a:solidFill>
                  <a:schemeClr val="tx1"/>
                </a:solidFill>
              </a:rPr>
              <a:t>ref</a:t>
            </a:r>
            <a:r>
              <a:rPr lang="da-DK" sz="2000">
                <a:solidFill>
                  <a:schemeClr val="tx1"/>
                </a:solidFill>
              </a:rPr>
              <a:t> = 196,4 x g</a:t>
            </a:r>
            <a:r>
              <a:rPr lang="da-DK" sz="2000" baseline="-25000">
                <a:solidFill>
                  <a:schemeClr val="tx1"/>
                </a:solidFill>
              </a:rPr>
              <a:t>w</a:t>
            </a:r>
            <a:r>
              <a:rPr lang="da-DK" sz="2000">
                <a:solidFill>
                  <a:schemeClr val="tx1"/>
                </a:solidFill>
              </a:rPr>
              <a:t> – 90,36 x </a:t>
            </a:r>
            <a:r>
              <a:rPr lang="da-DK" sz="2000" err="1">
                <a:solidFill>
                  <a:schemeClr val="tx1"/>
                </a:solidFill>
              </a:rPr>
              <a:t>U</a:t>
            </a:r>
            <a:r>
              <a:rPr lang="da-DK" sz="2000" baseline="-25000" err="1">
                <a:solidFill>
                  <a:schemeClr val="tx1"/>
                </a:solidFill>
              </a:rPr>
              <a:t>w</a:t>
            </a:r>
            <a:endParaRPr lang="da-DK" sz="2000" baseline="-25000">
              <a:solidFill>
                <a:schemeClr val="tx1"/>
              </a:solidFill>
            </a:endParaRPr>
          </a:p>
          <a:p>
            <a:pPr marL="0" lvl="8" indent="0">
              <a:spcBef>
                <a:spcPts val="1000"/>
              </a:spcBef>
              <a:buNone/>
            </a:pPr>
            <a:r>
              <a:rPr lang="da-DK" sz="2000">
                <a:solidFill>
                  <a:schemeClr val="tx1"/>
                </a:solidFill>
              </a:rPr>
              <a:t>Referencevindue 1,23 x 1,48 m </a:t>
            </a:r>
          </a:p>
          <a:p>
            <a:pPr marL="0" indent="0">
              <a:buNone/>
            </a:pPr>
            <a:r>
              <a:rPr lang="da-DK" sz="2000">
                <a:solidFill>
                  <a:schemeClr val="tx1"/>
                </a:solidFill>
              </a:rPr>
              <a:t>Energimærker på </a:t>
            </a:r>
            <a:r>
              <a:rPr lang="da-DK" sz="2000" err="1">
                <a:solidFill>
                  <a:schemeClr val="tx1"/>
                </a:solidFill>
              </a:rPr>
              <a:t>www.energivinduer.dk</a:t>
            </a:r>
            <a:endParaRPr lang="da-DK" sz="2000">
              <a:solidFill>
                <a:schemeClr val="tx1"/>
              </a:solidFill>
            </a:endParaRPr>
          </a:p>
        </p:txBody>
      </p:sp>
      <p:pic>
        <p:nvPicPr>
          <p:cNvPr id="26" name="Pladsholder til indhold 25">
            <a:extLst>
              <a:ext uri="{FF2B5EF4-FFF2-40B4-BE49-F238E27FC236}">
                <a16:creationId xmlns:a16="http://schemas.microsoft.com/office/drawing/2014/main" id="{101B34AF-F5B8-3A64-C9C0-E24FD259473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5404" y="1953400"/>
            <a:ext cx="4208897" cy="440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76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E3D833CD-38A1-876F-5E87-1F0659F36B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000" y="1866122"/>
            <a:ext cx="7676850" cy="3495018"/>
          </a:xfrm>
        </p:spPr>
        <p:txBody>
          <a:bodyPr numCol="2" spcCol="360000"/>
          <a:lstStyle/>
          <a:p>
            <a:r>
              <a:rPr lang="da-DK" dirty="0"/>
              <a:t>De forskellige kategorier af projekter i BR  </a:t>
            </a:r>
          </a:p>
          <a:p>
            <a:pPr lvl="5"/>
            <a:r>
              <a:rPr lang="da-DK" dirty="0"/>
              <a:t>Nybyg</a:t>
            </a:r>
          </a:p>
          <a:p>
            <a:pPr lvl="5"/>
            <a:r>
              <a:rPr lang="da-DK" dirty="0"/>
              <a:t>Ændret anvendelse</a:t>
            </a:r>
          </a:p>
          <a:p>
            <a:pPr lvl="5"/>
            <a:r>
              <a:rPr lang="da-DK" dirty="0"/>
              <a:t>Tilbygning</a:t>
            </a:r>
          </a:p>
          <a:p>
            <a:pPr lvl="5"/>
            <a:r>
              <a:rPr lang="da-DK" dirty="0"/>
              <a:t>Ombyg og andre forandringer</a:t>
            </a:r>
          </a:p>
          <a:p>
            <a:pPr lvl="5"/>
            <a:r>
              <a:rPr lang="da-DK" dirty="0"/>
              <a:t>Udskiftning</a:t>
            </a:r>
          </a:p>
          <a:p>
            <a:pPr lvl="5"/>
            <a:r>
              <a:rPr lang="da-DK" dirty="0"/>
              <a:t>Sommerhuse</a:t>
            </a:r>
          </a:p>
          <a:p>
            <a:r>
              <a:rPr lang="da-DK" dirty="0"/>
              <a:t>Overblik over krav til  </a:t>
            </a:r>
          </a:p>
          <a:p>
            <a:pPr lvl="3"/>
            <a:r>
              <a:rPr lang="da-DK" dirty="0"/>
              <a:t>Ventilation</a:t>
            </a:r>
          </a:p>
          <a:p>
            <a:pPr lvl="3"/>
            <a:r>
              <a:rPr lang="da-DK" dirty="0"/>
              <a:t>Varmeinstallationer</a:t>
            </a:r>
          </a:p>
          <a:p>
            <a:pPr lvl="3"/>
            <a:r>
              <a:rPr lang="da-DK" dirty="0"/>
              <a:t>Funktionsafprøvning</a:t>
            </a:r>
          </a:p>
          <a:p>
            <a:pPr lvl="3"/>
            <a:r>
              <a:rPr lang="da-DK" dirty="0"/>
              <a:t>Kort om den frivillige lavenergiklass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CD32143-21C6-11DA-04EE-4880730AD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Indhold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A63399FD-D1A1-B6F9-6C69-2B9D81B53F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323850"/>
            <a:ext cx="323850" cy="125413"/>
          </a:xfrm>
        </p:spPr>
        <p:txBody>
          <a:bodyPr/>
          <a:lstStyle/>
          <a:p>
            <a:fld id="{23AA811B-2EBD-4900-905E-5BE20644961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5083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ovenlysvinduer og glastage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Alle kategorier</a:t>
            </a:r>
          </a:p>
        </p:txBody>
      </p:sp>
      <p:sp>
        <p:nvSpPr>
          <p:cNvPr id="20" name="Pladsholder til indhold 19">
            <a:extLst>
              <a:ext uri="{FF2B5EF4-FFF2-40B4-BE49-F238E27FC236}">
                <a16:creationId xmlns:a16="http://schemas.microsoft.com/office/drawing/2014/main" id="{463AA8F4-CD34-A68F-D4B6-26305A87A0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2809903" cy="2262916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BR18</a:t>
            </a:r>
          </a:p>
          <a:p>
            <a:pPr marL="0" indent="0">
              <a:buNone/>
            </a:pPr>
            <a:r>
              <a:rPr lang="da-DK" err="1"/>
              <a:t>E</a:t>
            </a:r>
            <a:r>
              <a:rPr lang="da-DK" baseline="-25000" err="1"/>
              <a:t>ref</a:t>
            </a:r>
            <a:r>
              <a:rPr lang="da-DK"/>
              <a:t> </a:t>
            </a:r>
            <a:r>
              <a:rPr lang="da-DK" b="0" i="0" u="none" strike="noStrike">
                <a:solidFill>
                  <a:srgbClr val="000000"/>
                </a:solidFill>
                <a:effectLst/>
              </a:rPr>
              <a:t>≥ </a:t>
            </a:r>
            <a:r>
              <a:rPr lang="da-DK">
                <a:solidFill>
                  <a:srgbClr val="000000"/>
                </a:solidFill>
              </a:rPr>
              <a:t>0</a:t>
            </a:r>
            <a:r>
              <a:rPr lang="da-DK" b="0" i="0" u="none" strike="noStrike">
                <a:solidFill>
                  <a:srgbClr val="000000"/>
                </a:solidFill>
                <a:effectLst/>
              </a:rPr>
              <a:t> kWh/m</a:t>
            </a:r>
            <a:r>
              <a:rPr lang="da-DK" b="0" i="0" u="none" strike="noStrike" baseline="30000">
                <a:solidFill>
                  <a:srgbClr val="000000"/>
                </a:solidFill>
                <a:effectLst/>
              </a:rPr>
              <a:t>2</a:t>
            </a:r>
            <a:endParaRPr lang="da-DK"/>
          </a:p>
        </p:txBody>
      </p:sp>
      <p:sp>
        <p:nvSpPr>
          <p:cNvPr id="21" name="Pladsholder til indhold 20">
            <a:extLst>
              <a:ext uri="{FF2B5EF4-FFF2-40B4-BE49-F238E27FC236}">
                <a16:creationId xmlns:a16="http://schemas.microsoft.com/office/drawing/2014/main" id="{D5B0AAF8-8F0E-9453-F451-6C85516132F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380691" y="1944000"/>
            <a:ext cx="3198660" cy="2262916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BR18 </a:t>
            </a:r>
            <a:r>
              <a:rPr lang="da-DK" dirty="0"/>
              <a:t>bygningsklasse 2020</a:t>
            </a:r>
          </a:p>
          <a:p>
            <a:pPr marL="0" indent="0">
              <a:buNone/>
            </a:pPr>
            <a:r>
              <a:rPr lang="da-DK" dirty="0" err="1"/>
              <a:t>E</a:t>
            </a:r>
            <a:r>
              <a:rPr lang="da-DK" baseline="-25000" dirty="0" err="1"/>
              <a:t>ref</a:t>
            </a:r>
            <a:r>
              <a:rPr lang="da-DK" dirty="0"/>
              <a:t> </a:t>
            </a:r>
            <a:r>
              <a:rPr lang="da-DK" b="0" i="0" u="none" strike="noStrike" dirty="0">
                <a:solidFill>
                  <a:srgbClr val="000000"/>
                </a:solidFill>
                <a:effectLst/>
              </a:rPr>
              <a:t>≥ 10 kWh/m</a:t>
            </a:r>
            <a:r>
              <a:rPr lang="da-DK" b="0" i="0" u="none" strike="noStrike" baseline="30000" dirty="0">
                <a:solidFill>
                  <a:srgbClr val="000000"/>
                </a:solidFill>
                <a:effectLst/>
              </a:rPr>
              <a:t>2</a:t>
            </a:r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E2435F3-F62E-C2D2-E7A4-E2A99ACB5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24A4B8D-B35C-D5AF-FF30-40E520D4AC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595"/>
          <a:stretch/>
        </p:blipFill>
        <p:spPr>
          <a:xfrm>
            <a:off x="1003599" y="285636"/>
            <a:ext cx="255215" cy="250657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D4F17A6-676F-8855-825A-A6C6328A1B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9199" y="317538"/>
            <a:ext cx="255215" cy="218755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914A00FD-F26B-5B73-6332-BEC5672AB0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4340" y="286200"/>
            <a:ext cx="248399" cy="253469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ECA8CB50-8B40-46CB-3E17-A4CF449B4B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5790" y="298289"/>
            <a:ext cx="271546" cy="250657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A40D3517-F95C-418E-2E4B-4DAD359DE5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1969" y="266955"/>
            <a:ext cx="271546" cy="281991"/>
          </a:xfrm>
          <a:prstGeom prst="rect">
            <a:avLst/>
          </a:prstGeom>
        </p:spPr>
      </p:pic>
      <p:sp>
        <p:nvSpPr>
          <p:cNvPr id="25" name="Pladsholder til indhold 19">
            <a:extLst>
              <a:ext uri="{FF2B5EF4-FFF2-40B4-BE49-F238E27FC236}">
                <a16:creationId xmlns:a16="http://schemas.microsoft.com/office/drawing/2014/main" id="{9B86D73E-5E7D-7515-6210-3004E6ED77EB}"/>
              </a:ext>
            </a:extLst>
          </p:cNvPr>
          <p:cNvSpPr txBox="1">
            <a:spLocks/>
          </p:cNvSpPr>
          <p:nvPr/>
        </p:nvSpPr>
        <p:spPr>
          <a:xfrm>
            <a:off x="648000" y="4329848"/>
            <a:ext cx="6110152" cy="2032910"/>
          </a:xfrm>
          <a:prstGeom prst="rect">
            <a:avLst/>
          </a:prstGeom>
          <a:solidFill>
            <a:schemeClr val="bg2"/>
          </a:solidFill>
        </p:spPr>
        <p:txBody>
          <a:bodyPr vert="horz" lIns="288000" tIns="288000" rIns="288000" bIns="288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2000" err="1">
                <a:solidFill>
                  <a:schemeClr val="tx1"/>
                </a:solidFill>
              </a:rPr>
              <a:t>E</a:t>
            </a:r>
            <a:r>
              <a:rPr lang="da-DK" sz="2000" baseline="-25000" err="1">
                <a:solidFill>
                  <a:schemeClr val="tx1"/>
                </a:solidFill>
              </a:rPr>
              <a:t>ref</a:t>
            </a:r>
            <a:r>
              <a:rPr lang="da-DK" sz="2000">
                <a:solidFill>
                  <a:schemeClr val="tx1"/>
                </a:solidFill>
              </a:rPr>
              <a:t> = 345 x g</a:t>
            </a:r>
            <a:r>
              <a:rPr lang="da-DK" sz="2000" baseline="-25000">
                <a:solidFill>
                  <a:schemeClr val="tx1"/>
                </a:solidFill>
              </a:rPr>
              <a:t>w</a:t>
            </a:r>
            <a:r>
              <a:rPr lang="da-DK" sz="2000">
                <a:solidFill>
                  <a:schemeClr val="tx1"/>
                </a:solidFill>
              </a:rPr>
              <a:t> – 90,36 x </a:t>
            </a:r>
            <a:r>
              <a:rPr lang="da-DK" sz="2000" err="1">
                <a:solidFill>
                  <a:schemeClr val="tx1"/>
                </a:solidFill>
              </a:rPr>
              <a:t>U</a:t>
            </a:r>
            <a:r>
              <a:rPr lang="da-DK" sz="2000" baseline="-25000" err="1">
                <a:solidFill>
                  <a:schemeClr val="tx1"/>
                </a:solidFill>
              </a:rPr>
              <a:t>w</a:t>
            </a:r>
            <a:endParaRPr lang="da-DK" sz="2000" baseline="-25000">
              <a:solidFill>
                <a:schemeClr val="tx1"/>
              </a:solidFill>
            </a:endParaRPr>
          </a:p>
          <a:p>
            <a:pPr marL="0" lvl="8" indent="0">
              <a:spcBef>
                <a:spcPts val="1000"/>
              </a:spcBef>
              <a:buNone/>
            </a:pPr>
            <a:r>
              <a:rPr lang="da-DK" sz="2000">
                <a:solidFill>
                  <a:schemeClr val="tx1"/>
                </a:solidFill>
              </a:rPr>
              <a:t>Referencevindue 1,23 x 1,48 m </a:t>
            </a:r>
          </a:p>
          <a:p>
            <a:pPr marL="0" indent="0">
              <a:buNone/>
            </a:pPr>
            <a:r>
              <a:rPr lang="da-DK">
                <a:solidFill>
                  <a:schemeClr val="tx1"/>
                </a:solidFill>
              </a:rPr>
              <a:t>Taghældning 45°</a:t>
            </a:r>
          </a:p>
        </p:txBody>
      </p:sp>
      <p:pic>
        <p:nvPicPr>
          <p:cNvPr id="26" name="Pladsholder til indhold 25">
            <a:extLst>
              <a:ext uri="{FF2B5EF4-FFF2-40B4-BE49-F238E27FC236}">
                <a16:creationId xmlns:a16="http://schemas.microsoft.com/office/drawing/2014/main" id="{101B34AF-F5B8-3A64-C9C0-E24FD259473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5404" y="1953400"/>
            <a:ext cx="4208897" cy="440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1001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98B461-C9A7-6F6B-6C94-54DBBBA81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err="1"/>
              <a:t>Eref</a:t>
            </a:r>
            <a:r>
              <a:rPr lang="da-DK"/>
              <a:t> – hvad er det?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DEEBDAF9-BE11-8E21-C32F-34C4483F99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9138" y="1799184"/>
            <a:ext cx="7772400" cy="4359820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807CA3BC-877E-DBFB-CFA3-4BE632876028}"/>
              </a:ext>
            </a:extLst>
          </p:cNvPr>
          <p:cNvSpPr/>
          <p:nvPr/>
        </p:nvSpPr>
        <p:spPr>
          <a:xfrm>
            <a:off x="9322675" y="3051470"/>
            <a:ext cx="25855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err="1">
                <a:latin typeface="IBM Plex Sans" panose="020B0503050203000203" pitchFamily="34" charset="0"/>
                <a:cs typeface="Trebuchet MS"/>
              </a:rPr>
              <a:t>Eref</a:t>
            </a:r>
            <a:r>
              <a:rPr lang="da-DK" sz="1600">
                <a:latin typeface="IBM Plex Sans" panose="020B0503050203000203" pitchFamily="34" charset="0"/>
                <a:cs typeface="Trebuchet MS"/>
              </a:rPr>
              <a:t>-beregning for vinduer og ovenlysvinduer efter formler i punkt 1.6 i bygningsreglementets vejledning om </a:t>
            </a:r>
            <a:r>
              <a:rPr lang="da-DK" sz="1600" err="1">
                <a:latin typeface="IBM Plex Sans" panose="020B0503050203000203" pitchFamily="34" charset="0"/>
                <a:cs typeface="Trebuchet MS"/>
              </a:rPr>
              <a:t>energi-forbrug</a:t>
            </a:r>
            <a:endParaRPr lang="da-DK" sz="1600">
              <a:latin typeface="IBM Plex Sans" panose="020B0503050203000203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757498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linjetab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4796258"/>
            <a:ext cx="8791835" cy="1513422"/>
          </a:xfrm>
        </p:spPr>
        <p:txBody>
          <a:bodyPr/>
          <a:lstStyle/>
          <a:p>
            <a:r>
              <a:rPr lang="da-DK" sz="1600">
                <a:solidFill>
                  <a:schemeClr val="tx1"/>
                </a:solidFill>
              </a:rPr>
              <a:t>Sikrer alle bygningsdele mod risiko for fugtteknisk problem pga. kolde overflader – regulerer ikke energiforbrug</a:t>
            </a:r>
          </a:p>
          <a:p>
            <a:r>
              <a:rPr lang="da-DK" sz="1600">
                <a:solidFill>
                  <a:schemeClr val="tx1"/>
                </a:solidFill>
              </a:rPr>
              <a:t>For høje bygninger eller vanskelige funderingsforhold kan krav fraviges - men ekstra varmetab skal med i energirammen</a:t>
            </a:r>
          </a:p>
          <a:p>
            <a:pPr marL="0" indent="0">
              <a:buNone/>
            </a:pPr>
            <a:endParaRPr lang="da-DK" sz="1600">
              <a:solidFill>
                <a:schemeClr val="tx1"/>
              </a:solidFill>
            </a:endParaRP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graphicFrame>
        <p:nvGraphicFramePr>
          <p:cNvPr id="11" name="Tabel 10">
            <a:extLst>
              <a:ext uri="{FF2B5EF4-FFF2-40B4-BE49-F238E27FC236}">
                <a16:creationId xmlns:a16="http://schemas.microsoft.com/office/drawing/2014/main" id="{BA2897CF-D3A2-BE5F-6347-DC9A006988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562872"/>
              </p:ext>
            </p:extLst>
          </p:nvPr>
        </p:nvGraphicFramePr>
        <p:xfrm>
          <a:off x="647999" y="1991041"/>
          <a:ext cx="10701190" cy="246019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7413435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287755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615049">
                <a:tc>
                  <a:txBody>
                    <a:bodyPr/>
                    <a:lstStyle/>
                    <a:p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Krav til linjetab for samling mellem bygningsdele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Ψ</a:t>
                      </a:r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-værdi W/m K</a:t>
                      </a:r>
                      <a:endParaRPr lang="el-GR" sz="18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undamenter omkring rum, der opvarmes til mindst 5</a:t>
                      </a:r>
                      <a:r>
                        <a:rPr lang="da-DK" sz="1600" b="0" i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</a:rPr>
                        <a:t>°</a:t>
                      </a: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C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40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ydervægge og vinduer, yderdøre, glasvægge, porte og lemme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06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tagkonstruktion og ovenlysvinduer eller ovenlyskupler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20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  <p:pic>
        <p:nvPicPr>
          <p:cNvPr id="15" name="Billede 14">
            <a:extLst>
              <a:ext uri="{FF2B5EF4-FFF2-40B4-BE49-F238E27FC236}">
                <a16:creationId xmlns:a16="http://schemas.microsoft.com/office/drawing/2014/main" id="{57977A28-8A41-D14D-04CD-EEBA7A7413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623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Energirammen</a:t>
            </a:r>
          </a:p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Dimensionerende transmissionstab</a:t>
            </a:r>
          </a:p>
          <a:p>
            <a:pPr marL="0" indent="0">
              <a:buNone/>
            </a:pPr>
            <a:r>
              <a:rPr lang="da-DK">
                <a:solidFill>
                  <a:srgbClr val="F69F58"/>
                </a:solidFill>
              </a:rPr>
              <a:t>Generelle mindstekrav til klimaskærm</a:t>
            </a:r>
          </a:p>
          <a:p>
            <a:pPr marL="0" indent="0">
              <a:buNone/>
            </a:pPr>
            <a:r>
              <a:rPr lang="da-DK" sz="2000" b="1">
                <a:solidFill>
                  <a:schemeClr val="tx1"/>
                </a:solidFill>
              </a:rPr>
              <a:t>Lufttæthed</a:t>
            </a:r>
          </a:p>
          <a:p>
            <a:pPr marL="0" indent="0">
              <a:buNone/>
            </a:pPr>
            <a:r>
              <a:rPr lang="da-DK" sz="2000">
                <a:solidFill>
                  <a:schemeClr val="accent2"/>
                </a:solidFill>
              </a:rPr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FDB5DA23-E525-4DB1-9C60-680CB4208F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655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lufttæthed – kun nybygger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20" name="Pladsholder til indhold 19">
            <a:extLst>
              <a:ext uri="{FF2B5EF4-FFF2-40B4-BE49-F238E27FC236}">
                <a16:creationId xmlns:a16="http://schemas.microsoft.com/office/drawing/2014/main" id="{463AA8F4-CD34-A68F-D4B6-26305A87A0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3234916"/>
            <a:ext cx="6005048" cy="923163"/>
          </a:xfrm>
        </p:spPr>
        <p:txBody>
          <a:bodyPr/>
          <a:lstStyle/>
          <a:p>
            <a:pPr marL="0" indent="0">
              <a:buNone/>
            </a:pPr>
            <a:r>
              <a:rPr lang="da-DK">
                <a:solidFill>
                  <a:schemeClr val="tx1"/>
                </a:solidFill>
              </a:rPr>
              <a:t>Der er ikke længere krav til kommunerne om at teste tætheden.</a:t>
            </a:r>
            <a:endParaRPr lang="da-DK" sz="1800">
              <a:solidFill>
                <a:schemeClr val="tx1"/>
              </a:solidFill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E2435F3-F62E-C2D2-E7A4-E2A99ACB5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sp>
        <p:nvSpPr>
          <p:cNvPr id="25" name="Pladsholder til indhold 19">
            <a:extLst>
              <a:ext uri="{FF2B5EF4-FFF2-40B4-BE49-F238E27FC236}">
                <a16:creationId xmlns:a16="http://schemas.microsoft.com/office/drawing/2014/main" id="{9B86D73E-5E7D-7515-6210-3004E6ED77EB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6110152" cy="972001"/>
          </a:xfrm>
          <a:prstGeom prst="rect">
            <a:avLst/>
          </a:prstGeom>
          <a:solidFill>
            <a:srgbClr val="F69F58"/>
          </a:solidFill>
        </p:spPr>
        <p:txBody>
          <a:bodyPr vert="horz" lIns="288000" tIns="251999" rIns="288000" bIns="288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3200" b="1"/>
              <a:t>BR18: </a:t>
            </a:r>
            <a:r>
              <a:rPr lang="da-DK" sz="3200"/>
              <a:t>1 l/s pr. m</a:t>
            </a:r>
            <a:r>
              <a:rPr lang="da-DK" sz="3200" baseline="30000"/>
              <a:t>2</a:t>
            </a:r>
            <a:endParaRPr lang="da-DK" sz="2000" baseline="30000"/>
          </a:p>
        </p:txBody>
      </p:sp>
      <p:pic>
        <p:nvPicPr>
          <p:cNvPr id="26" name="Pladsholder til indhold 25">
            <a:extLst>
              <a:ext uri="{FF2B5EF4-FFF2-40B4-BE49-F238E27FC236}">
                <a16:creationId xmlns:a16="http://schemas.microsoft.com/office/drawing/2014/main" id="{101B34AF-F5B8-3A64-C9C0-E24FD259473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5404" y="1953400"/>
            <a:ext cx="4208897" cy="4409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51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Lufttæthed i energiramm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/>
              <a:t>BR18 stiller krav om at lufttætheden ikke må overstige 1,0 l/s pr. m² opvarmet etageareal ved en trykforskel på 50 Pa</a:t>
            </a:r>
            <a:br>
              <a:rPr lang="da-DK"/>
            </a:br>
            <a:endParaRPr lang="da-DK"/>
          </a:p>
          <a:p>
            <a:r>
              <a:rPr lang="da-DK"/>
              <a:t>Valgfrit om man trykprøver sin bygning – men kommunen skal min. udtage 10 % af byggesagerne til kontrol – dog ikke for enfamiliehuse, dobbelthuse, rækkehuse og sommerhus 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20F5A107-EEDD-9085-9D87-649824E93866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a-DK" b="1"/>
              <a:t>Hvis der ikke udføres </a:t>
            </a:r>
            <a:r>
              <a:rPr lang="da-DK"/>
              <a:t>en trykprøvning, skal der ved beregningen af bygningens energibehov anvendes 1,5 l/s pr. m2, men de 1,0 l/s pr. m² skal kunne opfyldes ved en trykprøvning.</a:t>
            </a:r>
            <a:br>
              <a:rPr lang="da-DK"/>
            </a:br>
            <a:endParaRPr lang="da-DK"/>
          </a:p>
          <a:p>
            <a:r>
              <a:rPr lang="da-DK" b="1"/>
              <a:t>Hvis der udføres </a:t>
            </a:r>
            <a:r>
              <a:rPr lang="da-DK"/>
              <a:t>en trykprøvning, kan resultatet eller det forventede resultat anvendes ved beregning af bygningens energibehov</a:t>
            </a:r>
          </a:p>
          <a:p>
            <a:endParaRPr 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pic>
        <p:nvPicPr>
          <p:cNvPr id="8" name="Picture 5" descr="DSC00627">
            <a:extLst>
              <a:ext uri="{FF2B5EF4-FFF2-40B4-BE49-F238E27FC236}">
                <a16:creationId xmlns:a16="http://schemas.microsoft.com/office/drawing/2014/main" id="{B3A22352-0E59-8CE3-CFD9-3247A10D3F3F}"/>
              </a:ext>
            </a:extLst>
          </p:cNvPr>
          <p:cNvPicPr>
            <a:picLocks noGrp="1" noChangeAspect="1" noChangeArrowheads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7683" y="1944000"/>
            <a:ext cx="1706617" cy="394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72727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Lufttæthed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1944000"/>
            <a:ext cx="8285793" cy="4266000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Lufttætheden testes ved en trykprøvning (</a:t>
            </a:r>
            <a:r>
              <a:rPr lang="da-DK" err="1"/>
              <a:t>blower</a:t>
            </a:r>
            <a:r>
              <a:rPr lang="da-DK"/>
              <a:t> </a:t>
            </a:r>
            <a:r>
              <a:rPr lang="da-DK" err="1"/>
              <a:t>door</a:t>
            </a:r>
            <a:r>
              <a:rPr lang="da-DK"/>
              <a:t> test)</a:t>
            </a:r>
          </a:p>
          <a:p>
            <a:r>
              <a:rPr lang="da-DK"/>
              <a:t>På grundlag af standarden DS/EN ISO 9972, Bygningers termiske ydeevne</a:t>
            </a:r>
          </a:p>
          <a:p>
            <a:r>
              <a:rPr lang="da-DK"/>
              <a:t>Tilsigtede åbninger lukkes eller forsegles</a:t>
            </a:r>
          </a:p>
          <a:p>
            <a:r>
              <a:rPr lang="da-DK"/>
              <a:t>Der ledes efter utilsigtede utætheder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pic>
        <p:nvPicPr>
          <p:cNvPr id="8" name="Picture 5" descr="DSC00627">
            <a:extLst>
              <a:ext uri="{FF2B5EF4-FFF2-40B4-BE49-F238E27FC236}">
                <a16:creationId xmlns:a16="http://schemas.microsoft.com/office/drawing/2014/main" id="{B3A22352-0E59-8CE3-CFD9-3247A10D3F3F}"/>
              </a:ext>
            </a:extLst>
          </p:cNvPr>
          <p:cNvPicPr>
            <a:picLocks noGrp="1" noChangeAspect="1" noChangeArrowheads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7683" y="1944000"/>
            <a:ext cx="1706617" cy="394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58679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Gode råd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1944000"/>
            <a:ext cx="8285793" cy="4266000"/>
          </a:xfrm>
        </p:spPr>
        <p:txBody>
          <a:bodyPr/>
          <a:lstStyle/>
          <a:p>
            <a:r>
              <a:rPr lang="da-DK"/>
              <a:t>Test altid bygningens tæthed – dokumenterer den gode kvalitet</a:t>
            </a:r>
          </a:p>
          <a:p>
            <a:r>
              <a:rPr lang="da-DK"/>
              <a:t>Brug termografering til at finde kuldebroer; og til at skille kuldebroer og utætheder fra hinanden</a:t>
            </a:r>
          </a:p>
          <a:p>
            <a:r>
              <a:rPr lang="da-DK"/>
              <a:t>Gør det inden det indvendige finish-arbejde går i gang (maling, flisearbejder mv.)</a:t>
            </a:r>
          </a:p>
          <a:p>
            <a:r>
              <a:rPr lang="da-DK"/>
              <a:t>Udbedr evt. utætheder – og så ny </a:t>
            </a:r>
            <a:r>
              <a:rPr lang="da-DK" err="1"/>
              <a:t>blower</a:t>
            </a:r>
            <a:r>
              <a:rPr lang="da-DK"/>
              <a:t> </a:t>
            </a:r>
            <a:r>
              <a:rPr lang="da-DK" err="1"/>
              <a:t>door</a:t>
            </a:r>
            <a:r>
              <a:rPr lang="da-DK"/>
              <a:t> test</a:t>
            </a:r>
          </a:p>
          <a:p>
            <a:r>
              <a:rPr lang="da-DK"/>
              <a:t>Husk at forebygge fugtproblemer!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pic>
        <p:nvPicPr>
          <p:cNvPr id="8" name="Picture 5" descr="DSC00627">
            <a:extLst>
              <a:ext uri="{FF2B5EF4-FFF2-40B4-BE49-F238E27FC236}">
                <a16:creationId xmlns:a16="http://schemas.microsoft.com/office/drawing/2014/main" id="{B3A22352-0E59-8CE3-CFD9-3247A10D3F3F}"/>
              </a:ext>
            </a:extLst>
          </p:cNvPr>
          <p:cNvPicPr>
            <a:picLocks noGrp="1" noChangeAspect="1" noChangeArrowheads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7683" y="1944000"/>
            <a:ext cx="1706617" cy="394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684163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0A5A56-3CC4-D4A0-FBC5-FA1507C92B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Energirammen</a:t>
            </a:r>
          </a:p>
          <a:p>
            <a:pPr marL="0" indent="0">
              <a:buNone/>
            </a:pPr>
            <a:r>
              <a:rPr lang="da-DK" sz="2000">
                <a:solidFill>
                  <a:srgbClr val="F69F58"/>
                </a:solidFill>
              </a:rPr>
              <a:t>Dimensionerende transmissionstab</a:t>
            </a:r>
          </a:p>
          <a:p>
            <a:pPr marL="0" indent="0">
              <a:buNone/>
            </a:pPr>
            <a:r>
              <a:rPr lang="da-DK">
                <a:solidFill>
                  <a:srgbClr val="F69F58"/>
                </a:solidFill>
              </a:rPr>
              <a:t>Generelle mindstekrav til klimaskærm</a:t>
            </a:r>
          </a:p>
          <a:p>
            <a:pPr marL="0" indent="0">
              <a:buNone/>
            </a:pPr>
            <a:r>
              <a:rPr lang="da-DK">
                <a:solidFill>
                  <a:srgbClr val="F69F58"/>
                </a:solidFill>
              </a:rPr>
              <a:t>Lufttæthed</a:t>
            </a:r>
          </a:p>
          <a:p>
            <a:pPr marL="0" indent="0">
              <a:buNone/>
            </a:pPr>
            <a:r>
              <a:rPr lang="da-DK" b="1">
                <a:solidFill>
                  <a:schemeClr val="tx1"/>
                </a:solidFill>
              </a:rPr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</a:t>
            </a:r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FDB5DA23-E525-4DB1-9C60-680CB4208F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645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ndel af vedvarende energi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FFA2DED-1BB6-D501-53A8-17AC7EA403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Nybyggeri + ombygning og andre forandringer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E2435F3-F62E-C2D2-E7A4-E2A99ACB5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914A00FD-F26B-5B73-6332-BEC5672AB0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168" y="286200"/>
            <a:ext cx="248399" cy="253469"/>
          </a:xfrm>
          <a:prstGeom prst="rect">
            <a:avLst/>
          </a:prstGeom>
        </p:spPr>
      </p:pic>
      <p:sp>
        <p:nvSpPr>
          <p:cNvPr id="25" name="Pladsholder til indhold 19">
            <a:extLst>
              <a:ext uri="{FF2B5EF4-FFF2-40B4-BE49-F238E27FC236}">
                <a16:creationId xmlns:a16="http://schemas.microsoft.com/office/drawing/2014/main" id="{9B86D73E-5E7D-7515-6210-3004E6ED77EB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4638703" cy="4418758"/>
          </a:xfrm>
          <a:prstGeom prst="rect">
            <a:avLst/>
          </a:prstGeom>
          <a:solidFill>
            <a:schemeClr val="bg2"/>
          </a:solidFill>
        </p:spPr>
        <p:txBody>
          <a:bodyPr vert="horz" lIns="288000" tIns="288000" rIns="288000" bIns="288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3200" b="1">
                <a:solidFill>
                  <a:schemeClr val="tx1"/>
                </a:solidFill>
              </a:rPr>
              <a:t>§ 293</a:t>
            </a:r>
          </a:p>
          <a:p>
            <a:pPr marL="0" indent="0">
              <a:buNone/>
            </a:pPr>
            <a:r>
              <a:rPr lang="da-DK" sz="2000">
                <a:solidFill>
                  <a:schemeClr val="tx1"/>
                </a:solidFill>
              </a:rPr>
              <a:t>Bygningsopvarmning i nybyggeri skal baseres på vedvarende energi – undtagen hvor der er: </a:t>
            </a:r>
          </a:p>
          <a:p>
            <a:r>
              <a:rPr lang="da-DK" sz="2000">
                <a:solidFill>
                  <a:schemeClr val="tx1"/>
                </a:solidFill>
              </a:rPr>
              <a:t>Fjernvarmenet (§ 294)</a:t>
            </a:r>
          </a:p>
          <a:p>
            <a:r>
              <a:rPr lang="da-DK" sz="2000">
                <a:solidFill>
                  <a:schemeClr val="tx1"/>
                </a:solidFill>
              </a:rPr>
              <a:t>Naturgasnet (§ 295)</a:t>
            </a:r>
            <a:endParaRPr lang="da-DK">
              <a:solidFill>
                <a:schemeClr val="tx1"/>
              </a:solidFill>
            </a:endParaRP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72567D7F-8F31-5C33-FD7D-86BF93C3B8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0621" y="1944000"/>
            <a:ext cx="5532082" cy="4266000"/>
          </a:xfrm>
        </p:spPr>
        <p:txBody>
          <a:bodyPr/>
          <a:lstStyle/>
          <a:p>
            <a:r>
              <a:rPr lang="da-DK"/>
              <a:t>Relevant når stor del af klimaskærm forandres i bygning med elvarme eller samtidigt skift af kedel</a:t>
            </a:r>
          </a:p>
          <a:p>
            <a:r>
              <a:rPr lang="da-DK"/>
              <a:t>Forsyning med fjernvarme, opvarmning med varmepumper og biobrændselskedler ✔</a:t>
            </a:r>
          </a:p>
          <a:p>
            <a:r>
              <a:rPr lang="da-DK"/>
              <a:t>Vindkraft og solenergi på matriklen ✔</a:t>
            </a:r>
          </a:p>
          <a:p>
            <a:r>
              <a:rPr lang="da-DK"/>
              <a:t>Den vedvarende energiandel i elforsyningen kan ikke medregnes i energirammen </a:t>
            </a:r>
          </a:p>
        </p:txBody>
      </p:sp>
    </p:spTree>
    <p:extLst>
      <p:ext uri="{BB962C8B-B14F-4D97-AF65-F5344CB8AC3E}">
        <p14:creationId xmlns:p14="http://schemas.microsoft.com/office/powerpoint/2010/main" val="2746435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7DC38-FAB1-05F2-A80B-AAC7293B9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Oversigt: Energikraven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8BC136CE-BF0B-E64F-C4D5-E49B77494A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00" y="1469932"/>
            <a:ext cx="7772400" cy="4838040"/>
          </a:xfrm>
          <a:prstGeom prst="rect">
            <a:avLst/>
          </a:prstGeom>
        </p:spPr>
      </p:pic>
      <p:sp>
        <p:nvSpPr>
          <p:cNvPr id="6" name="Pladsholder til indhold 4">
            <a:extLst>
              <a:ext uri="{FF2B5EF4-FFF2-40B4-BE49-F238E27FC236}">
                <a16:creationId xmlns:a16="http://schemas.microsoft.com/office/drawing/2014/main" id="{507A9420-135E-3E40-FA33-AD6DA96BA3D3}"/>
              </a:ext>
            </a:extLst>
          </p:cNvPr>
          <p:cNvSpPr txBox="1">
            <a:spLocks/>
          </p:cNvSpPr>
          <p:nvPr/>
        </p:nvSpPr>
        <p:spPr>
          <a:xfrm>
            <a:off x="8712926" y="5577840"/>
            <a:ext cx="3135086" cy="8490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4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4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32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200">
                <a:effectLst/>
                <a:latin typeface="IBM Plex Sans" panose="020B0503050203000203" pitchFamily="34" charset="0"/>
              </a:rPr>
              <a:t>*Reparationer er fx malerbehandling, reparation af puds, </a:t>
            </a:r>
            <a:r>
              <a:rPr lang="da-DK" sz="1200" err="1">
                <a:effectLst/>
                <a:latin typeface="IBM Plex Sans" panose="020B0503050203000203" pitchFamily="34" charset="0"/>
              </a:rPr>
              <a:t>ompudsning</a:t>
            </a:r>
            <a:r>
              <a:rPr lang="da-DK" sz="1200">
                <a:effectLst/>
                <a:latin typeface="IBM Plex Sans" panose="020B0503050203000203" pitchFamily="34" charset="0"/>
              </a:rPr>
              <a:t> af facade, nye skotrender og inddækninger, lapning af huller i tag mv.</a:t>
            </a:r>
          </a:p>
        </p:txBody>
      </p:sp>
    </p:spTree>
    <p:extLst>
      <p:ext uri="{BB962C8B-B14F-4D97-AF65-F5344CB8AC3E}">
        <p14:creationId xmlns:p14="http://schemas.microsoft.com/office/powerpoint/2010/main" val="17730104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Ændret anvendels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889BE02C-142F-97B4-24A8-A6C91E48FF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699" y="1910624"/>
            <a:ext cx="771067" cy="747157"/>
          </a:xfrm>
          <a:prstGeom prst="rect">
            <a:avLst/>
          </a:prstGeom>
        </p:spPr>
      </p:pic>
      <p:sp>
        <p:nvSpPr>
          <p:cNvPr id="5" name="Pladsholder til tekst 8">
            <a:extLst>
              <a:ext uri="{FF2B5EF4-FFF2-40B4-BE49-F238E27FC236}">
                <a16:creationId xmlns:a16="http://schemas.microsoft.com/office/drawing/2014/main" id="{03162708-C619-12E8-DD7A-9D1D9E6FF603}"/>
              </a:ext>
            </a:extLst>
          </p:cNvPr>
          <p:cNvSpPr txBox="1">
            <a:spLocks/>
          </p:cNvSpPr>
          <p:nvPr/>
        </p:nvSpPr>
        <p:spPr>
          <a:xfrm>
            <a:off x="647700" y="3962400"/>
            <a:ext cx="8593138" cy="10475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Hvordan overholdes energikravene i BR18?</a:t>
            </a:r>
          </a:p>
        </p:txBody>
      </p:sp>
    </p:spTree>
    <p:extLst>
      <p:ext uri="{BB962C8B-B14F-4D97-AF65-F5344CB8AC3E}">
        <p14:creationId xmlns:p14="http://schemas.microsoft.com/office/powerpoint/2010/main" val="29811231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l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Ændret anvendelse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99" y="5810193"/>
            <a:ext cx="5521573" cy="399807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Fra stuehus + staldlænger til bibliotek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771" y="285129"/>
            <a:ext cx="251671" cy="251671"/>
          </a:xfrm>
          <a:prstGeom prst="rect">
            <a:avLst/>
          </a:prstGeom>
        </p:spPr>
      </p:pic>
      <p:sp>
        <p:nvSpPr>
          <p:cNvPr id="11" name="Pladsholder til indhold 3">
            <a:extLst>
              <a:ext uri="{FF2B5EF4-FFF2-40B4-BE49-F238E27FC236}">
                <a16:creationId xmlns:a16="http://schemas.microsoft.com/office/drawing/2014/main" id="{7F5FC650-A6B9-8670-237D-8ABFB26E4A77}"/>
              </a:ext>
            </a:extLst>
          </p:cNvPr>
          <p:cNvSpPr txBox="1">
            <a:spLocks/>
          </p:cNvSpPr>
          <p:nvPr/>
        </p:nvSpPr>
        <p:spPr>
          <a:xfrm>
            <a:off x="6670427" y="5810193"/>
            <a:ext cx="5521573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Fra stald til kantine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CC8479A2-F23D-7198-B3BE-74870300060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8" y="1882382"/>
            <a:ext cx="5549201" cy="369251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Billede 12" descr="IMG_8264.JPG">
            <a:extLst>
              <a:ext uri="{FF2B5EF4-FFF2-40B4-BE49-F238E27FC236}">
                <a16:creationId xmlns:a16="http://schemas.microsoft.com/office/drawing/2014/main" id="{97DC3A89-E34A-2D79-934A-349BF0AFF2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354068" y="2178746"/>
            <a:ext cx="3712509" cy="3079794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811789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DA4784D-15C1-B809-3C31-F5C027B4F331}"/>
              </a:ext>
            </a:extLst>
          </p:cNvPr>
          <p:cNvSpPr/>
          <p:nvPr/>
        </p:nvSpPr>
        <p:spPr>
          <a:xfrm>
            <a:off x="0" y="1"/>
            <a:ext cx="9063318" cy="6858000"/>
          </a:xfrm>
          <a:prstGeom prst="rect">
            <a:avLst/>
          </a:prstGeom>
          <a:solidFill>
            <a:srgbClr val="F69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C85CD6-0111-A2F9-8115-8CDE47536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Ændret anvendelse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762379D-49AE-656C-C1CF-EFCA73C12C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1025" y="1818290"/>
            <a:ext cx="4942147" cy="4107545"/>
          </a:xfrm>
          <a:prstGeom prst="rect">
            <a:avLst/>
          </a:prstGeom>
        </p:spPr>
      </p:pic>
      <p:sp>
        <p:nvSpPr>
          <p:cNvPr id="8" name="Pladsholder til indhold 3">
            <a:extLst>
              <a:ext uri="{FF2B5EF4-FFF2-40B4-BE49-F238E27FC236}">
                <a16:creationId xmlns:a16="http://schemas.microsoft.com/office/drawing/2014/main" id="{5701C8A8-B803-7730-CFEA-3FCEBB82EFE3}"/>
              </a:ext>
            </a:extLst>
          </p:cNvPr>
          <p:cNvSpPr txBox="1">
            <a:spLocks/>
          </p:cNvSpPr>
          <p:nvPr/>
        </p:nvSpPr>
        <p:spPr>
          <a:xfrm>
            <a:off x="1656993" y="2982911"/>
            <a:ext cx="1485601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1</a:t>
            </a:r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D0097CCF-8DCE-5686-F1A3-ED7D66B8792D}"/>
              </a:ext>
            </a:extLst>
          </p:cNvPr>
          <p:cNvSpPr txBox="1">
            <a:spLocks/>
          </p:cNvSpPr>
          <p:nvPr/>
        </p:nvSpPr>
        <p:spPr>
          <a:xfrm>
            <a:off x="1656993" y="5032429"/>
            <a:ext cx="1485601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2</a:t>
            </a:r>
          </a:p>
        </p:txBody>
      </p:sp>
    </p:spTree>
    <p:extLst>
      <p:ext uri="{BB962C8B-B14F-4D97-AF65-F5344CB8AC3E}">
        <p14:creationId xmlns:p14="http://schemas.microsoft.com/office/powerpoint/2010/main" val="17748584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etod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Ændret anvendelse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4996056" cy="42660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Metode 1: Energiramme</a:t>
            </a:r>
          </a:p>
          <a:p>
            <a:pPr marL="0" indent="0">
              <a:buNone/>
            </a:pPr>
            <a:r>
              <a:rPr lang="da-DK"/>
              <a:t>Er gennemgået under nybyggeri – dog er det sådan at:  </a:t>
            </a:r>
            <a:br>
              <a:rPr lang="da-DK"/>
            </a:br>
            <a:endParaRPr lang="da-DK"/>
          </a:p>
          <a:p>
            <a:r>
              <a:rPr lang="da-DK"/>
              <a:t>Ved ændret anvendelse ingen krav om vedvarende energi eller lufttæthed </a:t>
            </a:r>
            <a:br>
              <a:rPr lang="da-DK"/>
            </a:br>
            <a:r>
              <a:rPr lang="da-DK"/>
              <a:t>(men husk at vurdere fugtproblemer)</a:t>
            </a:r>
          </a:p>
          <a:p>
            <a:r>
              <a:rPr lang="da-DK"/>
              <a:t>Metoden bruges dog sjældent ved ændret anvendelse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CFAD565-8FC8-0E77-8206-D901E18C9F7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5999" y="1944000"/>
            <a:ext cx="5206180" cy="4266000"/>
          </a:xfrm>
        </p:spPr>
        <p:txBody>
          <a:bodyPr/>
          <a:lstStyle/>
          <a:p>
            <a:pPr marL="0" indent="0">
              <a:buNone/>
            </a:pPr>
            <a:r>
              <a:rPr lang="da-DK" b="1"/>
              <a:t>Metode 2: Mindstekrav</a:t>
            </a:r>
          </a:p>
          <a:p>
            <a:r>
              <a:rPr lang="da-DK"/>
              <a:t>Mindstekrav til vinduer, glasydervægge, ovenlysvinduer og glastage som for nybyggeri </a:t>
            </a:r>
          </a:p>
          <a:p>
            <a:r>
              <a:rPr lang="da-DK"/>
              <a:t>Mindstekrav til klimaskærm ved ændret anvendelse som på næste slide</a:t>
            </a:r>
          </a:p>
          <a:p>
            <a:pPr marL="0" indent="0">
              <a:buNone/>
            </a:pPr>
            <a:endParaRPr lang="da-DK" b="1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771" y="285129"/>
            <a:ext cx="251671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0095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dstekrav til klimaskærm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BD11E3C-8E36-B1E6-E3D5-EAAA44A4BF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1819657"/>
            <a:ext cx="8390898" cy="4759093"/>
          </a:xfrm>
          <a:prstGeom prst="rect">
            <a:avLst/>
          </a:prstGeom>
        </p:spPr>
      </p:pic>
      <p:sp>
        <p:nvSpPr>
          <p:cNvPr id="16" name="Pladsholder til tekst 2">
            <a:extLst>
              <a:ext uri="{FF2B5EF4-FFF2-40B4-BE49-F238E27FC236}">
                <a16:creationId xmlns:a16="http://schemas.microsoft.com/office/drawing/2014/main" id="{F4AA4929-5F97-7031-A61A-CF7B838F9B98}"/>
              </a:ext>
            </a:extLst>
          </p:cNvPr>
          <p:cNvSpPr txBox="1">
            <a:spLocks/>
          </p:cNvSpPr>
          <p:nvPr/>
        </p:nvSpPr>
        <p:spPr>
          <a:xfrm>
            <a:off x="647999" y="648000"/>
            <a:ext cx="8576683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 cap="all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Ændret anvendels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7F2DE393-7C80-03C1-18E1-B1C168625D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771" y="285129"/>
            <a:ext cx="251671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9982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824527-D065-17C0-EC2C-DC866ACD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linjetab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419BA655-19CD-73BD-8959-F498B992341E}"/>
              </a:ext>
            </a:extLst>
          </p:cNvPr>
          <p:cNvSpPr txBox="1">
            <a:spLocks/>
          </p:cNvSpPr>
          <p:nvPr/>
        </p:nvSpPr>
        <p:spPr>
          <a:xfrm>
            <a:off x="647999" y="3234916"/>
            <a:ext cx="10602707" cy="2975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b="1"/>
          </a:p>
        </p:txBody>
      </p:sp>
      <p:graphicFrame>
        <p:nvGraphicFramePr>
          <p:cNvPr id="11" name="Tabel 10">
            <a:extLst>
              <a:ext uri="{FF2B5EF4-FFF2-40B4-BE49-F238E27FC236}">
                <a16:creationId xmlns:a16="http://schemas.microsoft.com/office/drawing/2014/main" id="{BA2897CF-D3A2-BE5F-6347-DC9A006988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145179"/>
              </p:ext>
            </p:extLst>
          </p:nvPr>
        </p:nvGraphicFramePr>
        <p:xfrm>
          <a:off x="647999" y="1991041"/>
          <a:ext cx="10701190" cy="246019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7413435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287755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615049">
                <a:tc>
                  <a:txBody>
                    <a:bodyPr/>
                    <a:lstStyle/>
                    <a:p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Krav til linjetab for samling mellem bygningsdele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Ψ</a:t>
                      </a:r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-værdi W/m K</a:t>
                      </a:r>
                      <a:endParaRPr lang="el-GR" sz="18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undamenter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12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ydervægge og vinduer, yderdøre, glasvægge, porte og lemme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03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tagkonstruktion og ovenlysvinduer eller ovenlyskupler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10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167F1787-F5F3-8E4F-787F-87B252694CEE}"/>
              </a:ext>
            </a:extLst>
          </p:cNvPr>
          <p:cNvSpPr txBox="1">
            <a:spLocks/>
          </p:cNvSpPr>
          <p:nvPr/>
        </p:nvSpPr>
        <p:spPr>
          <a:xfrm>
            <a:off x="647999" y="648000"/>
            <a:ext cx="8576683" cy="3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 cap="all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Ændret anvendelse</a:t>
            </a: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24B3AF2-3036-9183-6207-ECA629B8D1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771" y="285129"/>
            <a:ext cx="251671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994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Tilbygning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889BE02C-142F-97B4-24A8-A6C91E48FF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700" y="1908758"/>
            <a:ext cx="771067" cy="717520"/>
          </a:xfrm>
          <a:prstGeom prst="rect">
            <a:avLst/>
          </a:prstGeo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CBDF795-D933-2430-28BD-386DE37219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Hvordan overholdes energikravene i BR18?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752679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DA4784D-15C1-B809-3C31-F5C027B4F331}"/>
              </a:ext>
            </a:extLst>
          </p:cNvPr>
          <p:cNvSpPr/>
          <p:nvPr/>
        </p:nvSpPr>
        <p:spPr>
          <a:xfrm>
            <a:off x="0" y="1"/>
            <a:ext cx="9063318" cy="6858000"/>
          </a:xfrm>
          <a:prstGeom prst="rect">
            <a:avLst/>
          </a:prstGeom>
          <a:solidFill>
            <a:srgbClr val="F69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C85CD6-0111-A2F9-8115-8CDE47536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sp>
        <p:nvSpPr>
          <p:cNvPr id="8" name="Pladsholder til indhold 3">
            <a:extLst>
              <a:ext uri="{FF2B5EF4-FFF2-40B4-BE49-F238E27FC236}">
                <a16:creationId xmlns:a16="http://schemas.microsoft.com/office/drawing/2014/main" id="{5701C8A8-B803-7730-CFEA-3FCEBB82EFE3}"/>
              </a:ext>
            </a:extLst>
          </p:cNvPr>
          <p:cNvSpPr txBox="1">
            <a:spLocks/>
          </p:cNvSpPr>
          <p:nvPr/>
        </p:nvSpPr>
        <p:spPr>
          <a:xfrm>
            <a:off x="2068973" y="1754400"/>
            <a:ext cx="1485601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1</a:t>
            </a:r>
          </a:p>
        </p:txBody>
      </p:sp>
      <p:sp>
        <p:nvSpPr>
          <p:cNvPr id="9" name="Pladsholder til indhold 3">
            <a:extLst>
              <a:ext uri="{FF2B5EF4-FFF2-40B4-BE49-F238E27FC236}">
                <a16:creationId xmlns:a16="http://schemas.microsoft.com/office/drawing/2014/main" id="{D0097CCF-8DCE-5686-F1A3-ED7D66B8792D}"/>
              </a:ext>
            </a:extLst>
          </p:cNvPr>
          <p:cNvSpPr txBox="1">
            <a:spLocks/>
          </p:cNvSpPr>
          <p:nvPr/>
        </p:nvSpPr>
        <p:spPr>
          <a:xfrm>
            <a:off x="2068973" y="3435796"/>
            <a:ext cx="1485601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2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CE916558-E9C1-E2C8-FB0C-6D0EA0C640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3788827" y="420414"/>
            <a:ext cx="4614345" cy="6111764"/>
          </a:xfrm>
          <a:prstGeom prst="rect">
            <a:avLst/>
          </a:prstGeom>
        </p:spPr>
      </p:pic>
      <p:sp>
        <p:nvSpPr>
          <p:cNvPr id="6" name="Pladsholder til indhold 3">
            <a:extLst>
              <a:ext uri="{FF2B5EF4-FFF2-40B4-BE49-F238E27FC236}">
                <a16:creationId xmlns:a16="http://schemas.microsoft.com/office/drawing/2014/main" id="{9C7D3A77-49AF-855B-5A48-A3D5D6B560C4}"/>
              </a:ext>
            </a:extLst>
          </p:cNvPr>
          <p:cNvSpPr txBox="1">
            <a:spLocks/>
          </p:cNvSpPr>
          <p:nvPr/>
        </p:nvSpPr>
        <p:spPr>
          <a:xfrm>
            <a:off x="2068973" y="5327399"/>
            <a:ext cx="1485601" cy="399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3</a:t>
            </a:r>
          </a:p>
        </p:txBody>
      </p:sp>
    </p:spTree>
    <p:extLst>
      <p:ext uri="{BB962C8B-B14F-4D97-AF65-F5344CB8AC3E}">
        <p14:creationId xmlns:p14="http://schemas.microsoft.com/office/powerpoint/2010/main" val="7157884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etod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5F18E81E-4472-4E99-A3E6-1AA8600A48C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4996056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1: Energiramm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Er gennemgået under nybyggeri – dog er det sådan at:  </a:t>
            </a:r>
            <a:br>
              <a:rPr lang="da-DK"/>
            </a:br>
            <a:endParaRPr lang="da-DK"/>
          </a:p>
          <a:p>
            <a:r>
              <a:rPr lang="da-DK"/>
              <a:t>Ved tilbygning ingen krav om vedvarende energi eller lufttæthed </a:t>
            </a:r>
            <a:br>
              <a:rPr lang="da-DK"/>
            </a:br>
            <a:r>
              <a:rPr lang="da-DK"/>
              <a:t>(men husk at vurdere fugtproblemer)</a:t>
            </a:r>
          </a:p>
          <a:p>
            <a:r>
              <a:rPr lang="da-DK"/>
              <a:t>Energirammen bestemmes ud fra hele bygningens areal. Energibehovet beregnes derimod kun for tilbygningen</a:t>
            </a:r>
          </a:p>
          <a:p>
            <a:r>
              <a:rPr lang="da-DK"/>
              <a:t>Metoden bruges sjældent ved tilbygninger</a:t>
            </a:r>
          </a:p>
        </p:txBody>
      </p:sp>
      <p:sp>
        <p:nvSpPr>
          <p:cNvPr id="11" name="Pladsholder til indhold 4">
            <a:extLst>
              <a:ext uri="{FF2B5EF4-FFF2-40B4-BE49-F238E27FC236}">
                <a16:creationId xmlns:a16="http://schemas.microsoft.com/office/drawing/2014/main" id="{9F48BE9B-5176-D2F3-F8E6-A2753EC9735D}"/>
              </a:ext>
            </a:extLst>
          </p:cNvPr>
          <p:cNvSpPr txBox="1">
            <a:spLocks/>
          </p:cNvSpPr>
          <p:nvPr/>
        </p:nvSpPr>
        <p:spPr>
          <a:xfrm>
            <a:off x="6095999" y="1944000"/>
            <a:ext cx="520618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2: Mindstekrav</a:t>
            </a:r>
          </a:p>
          <a:p>
            <a:r>
              <a:rPr lang="da-DK"/>
              <a:t>Mindstekrav til vinduer, glasydervægge, ovenlysvinduer og glastage som for nybyggeri </a:t>
            </a:r>
          </a:p>
          <a:p>
            <a:pPr marL="0" indent="0">
              <a:buNone/>
            </a:pPr>
            <a:endParaRPr lang="da-DK"/>
          </a:p>
          <a:p>
            <a:r>
              <a:rPr lang="da-DK"/>
              <a:t>Mindstekrav til klimaskærm som for nybyggeri</a:t>
            </a:r>
            <a:endParaRPr lang="da-DK" b="1"/>
          </a:p>
        </p:txBody>
      </p:sp>
    </p:spTree>
    <p:extLst>
      <p:ext uri="{BB962C8B-B14F-4D97-AF65-F5344CB8AC3E}">
        <p14:creationId xmlns:p14="http://schemas.microsoft.com/office/powerpoint/2010/main" val="30965620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etod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5F18E81E-4472-4E99-A3E6-1AA8600A48C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4680745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/>
              <a:t>Metode 3: Varmetabsramm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Når tilbygningen ønskes opført med mere end 22 % vinduer og døre – eller med ringere U-værdier nogle steder – som vist på tidligere slide under ændret anvendelse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/>
              <a:t>Generelle mindstekrav til klimaskærm skal fortsat overholdes - som vist på tidligere slide under nybyggeri.</a:t>
            </a:r>
          </a:p>
        </p:txBody>
      </p:sp>
      <p:sp>
        <p:nvSpPr>
          <p:cNvPr id="11" name="Pladsholder til indhold 4">
            <a:extLst>
              <a:ext uri="{FF2B5EF4-FFF2-40B4-BE49-F238E27FC236}">
                <a16:creationId xmlns:a16="http://schemas.microsoft.com/office/drawing/2014/main" id="{9F48BE9B-5176-D2F3-F8E6-A2753EC9735D}"/>
              </a:ext>
            </a:extLst>
          </p:cNvPr>
          <p:cNvSpPr txBox="1">
            <a:spLocks/>
          </p:cNvSpPr>
          <p:nvPr/>
        </p:nvSpPr>
        <p:spPr>
          <a:xfrm>
            <a:off x="6095999" y="1944000"/>
            <a:ext cx="520618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Hvis man bruger metode 3 for en tilbygning: </a:t>
            </a:r>
          </a:p>
          <a:p>
            <a:r>
              <a:rPr lang="da-DK"/>
              <a:t>Tilbygningens varmetab skal være mindre end varmetabsrammen 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r>
              <a:rPr lang="da-DK"/>
              <a:t>Det kræver to separate beregninger (udføres i regneark):</a:t>
            </a:r>
          </a:p>
          <a:p>
            <a:r>
              <a:rPr lang="da-DK"/>
              <a:t>Beregning af varmetabsrammen</a:t>
            </a:r>
          </a:p>
          <a:p>
            <a:r>
              <a:rPr lang="da-DK"/>
              <a:t>Beregning af tilbygningens </a:t>
            </a:r>
            <a:br>
              <a:rPr lang="da-DK"/>
            </a:br>
            <a:r>
              <a:rPr lang="da-DK"/>
              <a:t>faktiske varmetab</a:t>
            </a:r>
          </a:p>
        </p:txBody>
      </p:sp>
    </p:spTree>
    <p:extLst>
      <p:ext uri="{BB962C8B-B14F-4D97-AF65-F5344CB8AC3E}">
        <p14:creationId xmlns:p14="http://schemas.microsoft.com/office/powerpoint/2010/main" val="2579031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9F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E6BD522B-7D62-A040-6F53-9E2ECC0616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955" y="300445"/>
            <a:ext cx="3483174" cy="6557554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0FFCAD56-6949-6C0A-DB66-683D6335A0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07614" y="300444"/>
            <a:ext cx="3467910" cy="522425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392A0C9-5367-611D-47EC-330B42E2CC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7464" y="3095083"/>
            <a:ext cx="3491218" cy="2018606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E831C805-F126-58FD-72BB-F7082476D7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2847" y="287381"/>
            <a:ext cx="3467910" cy="2632587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EFA05438-2E9E-521D-A6FE-E1BA8C8AB90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8600" y="5321215"/>
            <a:ext cx="3073400" cy="153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7777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 to beregninger: Forskellen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5F18E81E-4472-4E99-A3E6-1AA8600A48C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584634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da-DK"/>
              <a:t>U-værdierne og linjetabene i den faktiske beregning kan variere i forhold til U-værdierne og linjetabene i BR18’s bilag 2 til kapitel 11.</a:t>
            </a:r>
          </a:p>
          <a:p>
            <a:pPr marL="457200" indent="-457200">
              <a:buFont typeface="+mj-lt"/>
              <a:buAutoNum type="arabicPeriod"/>
            </a:pPr>
            <a:r>
              <a:rPr lang="da-DK"/>
              <a:t>I den faktiske beregning: 50 % af det varmetab, som tilbygningen dækker af den eksisterende bygnings facade kan modregnes.</a:t>
            </a:r>
          </a:p>
          <a:p>
            <a:pPr marL="457200" indent="-457200">
              <a:buFont typeface="+mj-lt"/>
              <a:buAutoNum type="arabicPeriod"/>
            </a:pPr>
            <a:r>
              <a:rPr lang="da-DK"/>
              <a:t>Der må ikke modregnes for tagboliger og førstesale.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9B0A5759-C1DB-144F-2317-83C4C484A0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223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5F18E81E-4472-4E99-A3E6-1AA8600A48C3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9557545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>
                <a:effectLst/>
              </a:rPr>
              <a:t>Ny tilbygning på 36,0 m² til et eksisterende 60’er-parcelhus.</a:t>
            </a:r>
          </a:p>
          <a:p>
            <a:pPr marL="0" indent="0">
              <a:buNone/>
            </a:pPr>
            <a:r>
              <a:rPr lang="da-DK">
                <a:effectLst/>
              </a:rPr>
              <a:t>Tilbygningen er i én etage med terrændæk og gulvvarme samt 25° tag med isolering på loft.</a:t>
            </a:r>
          </a:p>
        </p:txBody>
      </p:sp>
      <p:graphicFrame>
        <p:nvGraphicFramePr>
          <p:cNvPr id="5" name="Tabel 4">
            <a:extLst>
              <a:ext uri="{FF2B5EF4-FFF2-40B4-BE49-F238E27FC236}">
                <a16:creationId xmlns:a16="http://schemas.microsoft.com/office/drawing/2014/main" id="{9580ECE6-5BDE-AC91-224D-F6028EF06C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589864"/>
              </p:ext>
            </p:extLst>
          </p:nvPr>
        </p:nvGraphicFramePr>
        <p:xfrm>
          <a:off x="647999" y="3136668"/>
          <a:ext cx="10701190" cy="3274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563615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794234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  <a:gridCol w="1343341">
                  <a:extLst>
                    <a:ext uri="{9D8B030D-6E8A-4147-A177-3AD203B41FA5}">
                      <a16:colId xmlns:a16="http://schemas.microsoft.com/office/drawing/2014/main" val="2906316245"/>
                    </a:ext>
                  </a:extLst>
                </a:gridCol>
              </a:tblGrid>
              <a:tr h="615049">
                <a:tc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I varmetabsrammen skal vindues- og dørareal dermed være:</a:t>
                      </a:r>
                    </a:p>
                  </a:txBody>
                  <a:tcPr marL="144000" marR="54293" marT="180000" marB="18000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22 % af 36 m² = 7,9 m²</a:t>
                      </a:r>
                    </a:p>
                  </a:txBody>
                  <a:tcPr marL="64770" marR="54293" marT="180000" marB="18000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525548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Vinduesarealet antages at være ét større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vinduesparti på 6 meter fra gulv til loft</a:t>
                      </a:r>
                    </a:p>
                  </a:txBody>
                  <a:tcPr marL="144000" marR="54293" marT="180000" marB="18000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Længde af samling mellem ydervæg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og vindue for sider og top: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2 x 7,9/6 + 6 = 8,6 m </a:t>
                      </a:r>
                    </a:p>
                  </a:txBody>
                  <a:tcPr marL="64770" marR="54293" marT="180000" marB="18000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Tilbygningen kommer til at dække følgende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af den eksisterende bygning:</a:t>
                      </a:r>
                    </a:p>
                  </a:txBody>
                  <a:tcPr marL="144000" marR="54293" marT="180000" marB="180000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Ydervæg                                      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Vinduesparti med termoruder      </a:t>
                      </a:r>
                      <a:b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Samlinger omkring vinduer         </a:t>
                      </a:r>
                    </a:p>
                  </a:txBody>
                  <a:tcPr marL="64770" marR="54293" marT="180000" marB="180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9,8 m</a:t>
                      </a:r>
                      <a:r>
                        <a:rPr lang="da-DK" b="0" baseline="300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2</a:t>
                      </a:r>
                      <a:br>
                        <a:rPr lang="da-DK" b="0" baseline="300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</a:b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12,6 m</a:t>
                      </a:r>
                      <a:r>
                        <a:rPr lang="da-DK" b="0" baseline="300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b="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10,2 m</a:t>
                      </a:r>
                      <a:r>
                        <a:rPr lang="da-DK" b="0" baseline="300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</a:rPr>
                        <a:t>2</a:t>
                      </a:r>
                    </a:p>
                  </a:txBody>
                  <a:tcPr marL="64770" marR="54293" marT="180000" marB="180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56676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 – varmetabsramm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D20B5727-E34B-6ADF-D9F4-96358D5C78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27" y="1754815"/>
            <a:ext cx="9727484" cy="3647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8299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ksempel – faktisk varmetab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D20B5727-E34B-6ADF-D9F4-96358D5C78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27" y="1754815"/>
            <a:ext cx="9727484" cy="3647007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33146346-6CC9-5C76-15D0-2F12B9D66D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25" y="1751184"/>
            <a:ext cx="9727485" cy="4863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9297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onklusion på eksemp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tilbygning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27" y="317538"/>
            <a:ext cx="255215" cy="218755"/>
          </a:xfrm>
          <a:prstGeom prst="rect">
            <a:avLst/>
          </a:prstGeom>
        </p:spPr>
      </p:pic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4DCA3C65-D04F-04A6-1090-2D445186CE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017315"/>
              </p:ext>
            </p:extLst>
          </p:nvPr>
        </p:nvGraphicFramePr>
        <p:xfrm>
          <a:off x="647699" y="1944688"/>
          <a:ext cx="9694480" cy="23330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47240">
                  <a:extLst>
                    <a:ext uri="{9D8B030D-6E8A-4147-A177-3AD203B41FA5}">
                      <a16:colId xmlns:a16="http://schemas.microsoft.com/office/drawing/2014/main" val="2189161246"/>
                    </a:ext>
                  </a:extLst>
                </a:gridCol>
                <a:gridCol w="4847240">
                  <a:extLst>
                    <a:ext uri="{9D8B030D-6E8A-4147-A177-3AD203B41FA5}">
                      <a16:colId xmlns:a16="http://schemas.microsoft.com/office/drawing/2014/main" val="2006682311"/>
                    </a:ext>
                  </a:extLst>
                </a:gridCol>
              </a:tblGrid>
              <a:tr h="721773">
                <a:tc>
                  <a:txBody>
                    <a:bodyPr/>
                    <a:lstStyle/>
                    <a:p>
                      <a:pPr algn="ctr"/>
                      <a:r>
                        <a:rPr lang="da-DK" sz="180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Resultat</a:t>
                      </a:r>
                      <a:r>
                        <a:rPr lang="da-DK" sz="1800" baseline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 varmetabsramme</a:t>
                      </a:r>
                      <a:endParaRPr lang="da-DK" sz="1800">
                        <a:solidFill>
                          <a:schemeClr val="tx1"/>
                        </a:solidFill>
                        <a:latin typeface="IBM Plex Sans" panose="020B0503050203000203" pitchFamily="34" charset="0"/>
                        <a:cs typeface="Trebuchet MS"/>
                      </a:endParaRPr>
                    </a:p>
                  </a:txBody>
                  <a:tcPr anchor="ctr">
                    <a:solidFill>
                      <a:srgbClr val="F69F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80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Resultat</a:t>
                      </a:r>
                      <a:r>
                        <a:rPr lang="da-DK" sz="1800" baseline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 faktisk varmetab</a:t>
                      </a:r>
                      <a:endParaRPr lang="da-DK" sz="1800">
                        <a:solidFill>
                          <a:schemeClr val="tx1"/>
                        </a:solidFill>
                        <a:latin typeface="IBM Plex Sans" panose="020B0503050203000203" pitchFamily="34" charset="0"/>
                        <a:cs typeface="Trebuchet MS"/>
                      </a:endParaRPr>
                    </a:p>
                  </a:txBody>
                  <a:tcPr anchor="ctr">
                    <a:solidFill>
                      <a:srgbClr val="F69F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9602124"/>
                  </a:ext>
                </a:extLst>
              </a:tr>
              <a:tr h="786810">
                <a:tc>
                  <a:txBody>
                    <a:bodyPr/>
                    <a:lstStyle/>
                    <a:p>
                      <a:pPr algn="ctr"/>
                      <a:r>
                        <a:rPr lang="da-DK" sz="180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787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80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778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997749"/>
                  </a:ext>
                </a:extLst>
              </a:tr>
              <a:tr h="824439">
                <a:tc gridSpan="2">
                  <a:txBody>
                    <a:bodyPr/>
                    <a:lstStyle/>
                    <a:p>
                      <a:pPr algn="ctr"/>
                      <a:r>
                        <a:rPr lang="da-DK" sz="180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787 &gt; 778</a:t>
                      </a:r>
                      <a:r>
                        <a:rPr lang="da-DK" sz="1800" baseline="0">
                          <a:solidFill>
                            <a:schemeClr val="tx1"/>
                          </a:solidFill>
                          <a:latin typeface="IBM Plex Sans" panose="020B0503050203000203" pitchFamily="34" charset="0"/>
                          <a:cs typeface="Trebuchet MS"/>
                        </a:rPr>
                        <a:t> 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6915820"/>
                  </a:ext>
                </a:extLst>
              </a:tr>
            </a:tbl>
          </a:graphicData>
        </a:graphic>
      </p:graphicFrame>
      <p:sp>
        <p:nvSpPr>
          <p:cNvPr id="7" name="Tekstfelt 6">
            <a:extLst>
              <a:ext uri="{FF2B5EF4-FFF2-40B4-BE49-F238E27FC236}">
                <a16:creationId xmlns:a16="http://schemas.microsoft.com/office/drawing/2014/main" id="{A32CF4C6-B8B4-C550-F4CF-60AF4C1A04C0}"/>
              </a:ext>
            </a:extLst>
          </p:cNvPr>
          <p:cNvSpPr txBox="1"/>
          <p:nvPr/>
        </p:nvSpPr>
        <p:spPr>
          <a:xfrm>
            <a:off x="646227" y="4695246"/>
            <a:ext cx="9117883" cy="7852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2000" b="1">
                <a:latin typeface="IBM Plex Sans SemiBold" panose="020B0503050203000203" pitchFamily="34" charset="0"/>
                <a:cs typeface="Trebuchet MS"/>
              </a:rPr>
              <a:t>Tilbygningen holder sig inden for varmetabsrammen og er</a:t>
            </a:r>
            <a:r>
              <a:rPr lang="da-DK" sz="2000" b="1" baseline="0">
                <a:latin typeface="IBM Plex Sans SemiBold" panose="020B0503050203000203" pitchFamily="34" charset="0"/>
                <a:cs typeface="Trebuchet MS"/>
              </a:rPr>
              <a:t> ok </a:t>
            </a:r>
            <a:r>
              <a:rPr lang="da-DK" sz="2400" b="1" baseline="0">
                <a:latin typeface="IBM Plex Sans SemiBold" panose="020B0503050203000203" pitchFamily="34" charset="0"/>
                <a:ea typeface="Zapf Dingbats"/>
                <a:cs typeface="Zapf Dingbats"/>
                <a:sym typeface="Zapf Dingbats"/>
              </a:rPr>
              <a:t>✔</a:t>
            </a:r>
          </a:p>
          <a:p>
            <a:pPr algn="l">
              <a:lnSpc>
                <a:spcPct val="120000"/>
              </a:lnSpc>
            </a:pPr>
            <a:endParaRPr lang="da-DK" sz="2000" b="1" err="1">
              <a:latin typeface="IBM Plex Sans SemiBold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96788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7999" y="648001"/>
            <a:ext cx="9609693" cy="2937882"/>
          </a:xfrm>
        </p:spPr>
        <p:txBody>
          <a:bodyPr>
            <a:noAutofit/>
          </a:bodyPr>
          <a:lstStyle/>
          <a:p>
            <a:r>
              <a:rPr lang="da-DK"/>
              <a:t>Ombygning og andre forandring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889BE02C-142F-97B4-24A8-A6C91E48FF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277" y="1961982"/>
            <a:ext cx="646556" cy="717520"/>
          </a:xfrm>
          <a:prstGeom prst="rect">
            <a:avLst/>
          </a:prstGeo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18B4940-8FE5-70DE-B416-80C0B250FD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Hvordan overholdes energikravene i BR18?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37035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finitio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5F18E81E-4472-4E99-A3E6-1AA8600A48C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584634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Når noget bygges om eller forandres, som ikke falder under ændret anvendelse og tilbygning fx </a:t>
            </a:r>
          </a:p>
          <a:p>
            <a:r>
              <a:rPr lang="da-DK"/>
              <a:t>ny tagbelægning fx nyt tegltag el. stålpladetag</a:t>
            </a:r>
          </a:p>
          <a:p>
            <a:r>
              <a:rPr lang="da-DK"/>
              <a:t>ny </a:t>
            </a:r>
            <a:r>
              <a:rPr lang="da-DK" err="1"/>
              <a:t>regnskærm</a:t>
            </a:r>
            <a:r>
              <a:rPr lang="da-DK"/>
              <a:t> på let ydervæg</a:t>
            </a:r>
          </a:p>
          <a:p>
            <a:r>
              <a:rPr lang="da-DK"/>
              <a:t>ny-pudsning af facade (ikke tidligere pudset)</a:t>
            </a:r>
          </a:p>
          <a:p>
            <a:r>
              <a:rPr lang="da-DK"/>
              <a:t>nyt gulv (når man ikke skal ned i selve beton/klaplag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9B0A5759-C1DB-144F-2317-83C4C484A0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4948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DA4784D-15C1-B809-3C31-F5C027B4F331}"/>
              </a:ext>
            </a:extLst>
          </p:cNvPr>
          <p:cNvSpPr/>
          <p:nvPr/>
        </p:nvSpPr>
        <p:spPr>
          <a:xfrm>
            <a:off x="0" y="1"/>
            <a:ext cx="9063318" cy="6858000"/>
          </a:xfrm>
          <a:prstGeom prst="rect">
            <a:avLst/>
          </a:prstGeom>
          <a:solidFill>
            <a:srgbClr val="F69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C85CD6-0111-A2F9-8115-8CDE47536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762379D-49AE-656C-C1CF-EFCA73C12C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7" r="-755" b="-48460"/>
          <a:stretch/>
        </p:blipFill>
        <p:spPr>
          <a:xfrm>
            <a:off x="648000" y="1818290"/>
            <a:ext cx="4942147" cy="4107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10679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dstekrav til klimaskærm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BADBD750-71F9-BB39-4FBA-6F61EFF2B3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8" y="1943999"/>
            <a:ext cx="10754419" cy="234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2533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linjetab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E89E72C5-7662-5125-A3F1-AB46431401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78060"/>
              </p:ext>
            </p:extLst>
          </p:nvPr>
        </p:nvGraphicFramePr>
        <p:xfrm>
          <a:off x="647999" y="1991041"/>
          <a:ext cx="10701190" cy="246019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7413435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287755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615049">
                <a:tc>
                  <a:txBody>
                    <a:bodyPr/>
                    <a:lstStyle/>
                    <a:p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Krav til linjetab for samling mellem bygningsdele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Ψ</a:t>
                      </a:r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-værdi W/m K</a:t>
                      </a:r>
                      <a:endParaRPr lang="el-GR" sz="18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Fundamenter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12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ydervægge og vinduer, yderdøre, glasvægge, porte og lemme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03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5049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amling mellem tagkonstruktion og ovenlysvinduer eller ovenlyskupler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,10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518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756AE-6EBF-197B-7D45-D5E6839B6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da-DK"/>
              <a:t>Mindstekrav</a:t>
            </a:r>
          </a:p>
        </p:txBody>
      </p:sp>
      <p:pic>
        <p:nvPicPr>
          <p:cNvPr id="9" name="Pladsholder til indhold 8">
            <a:extLst>
              <a:ext uri="{FF2B5EF4-FFF2-40B4-BE49-F238E27FC236}">
                <a16:creationId xmlns:a16="http://schemas.microsoft.com/office/drawing/2014/main" id="{B0877BC2-AFBD-3E4A-087C-9CCFB800C7C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648000" y="1651001"/>
            <a:ext cx="8559800" cy="5601137"/>
          </a:xfrm>
          <a:prstGeom prst="roundRect">
            <a:avLst>
              <a:gd name="adj" fmla="val 1969"/>
            </a:avLst>
          </a:prstGeom>
          <a:effectLst>
            <a:outerShdw blurRad="626849" sx="105000" sy="105000" algn="ctr" rotWithShape="0">
              <a:srgbClr val="000000">
                <a:alpha val="1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9936537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ejledning: Ofte rentable konstruktion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CBAADAD3-6A67-AD95-D7F7-7029D0036A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3" y="1925492"/>
            <a:ext cx="5922649" cy="4932508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4FD1D4FF-001D-7D60-2CB0-361680E52818}"/>
              </a:ext>
            </a:extLst>
          </p:cNvPr>
          <p:cNvSpPr/>
          <p:nvPr/>
        </p:nvSpPr>
        <p:spPr>
          <a:xfrm>
            <a:off x="6800192" y="1944000"/>
            <a:ext cx="25855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err="1">
                <a:latin typeface="IBM Plex Sans" panose="020B0503050203000203" pitchFamily="34" charset="0"/>
                <a:cs typeface="Trebuchet MS"/>
              </a:rPr>
              <a:t>bygningsreglementet.dk</a:t>
            </a:r>
            <a:endParaRPr lang="da-DK" sz="1600">
              <a:latin typeface="IBM Plex Sans" panose="020B0503050203000203" pitchFamily="34" charset="0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423242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FF3628FB-7BCF-A844-9A5F-7FBEDB9650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134" y="1062951"/>
            <a:ext cx="5657563" cy="579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67704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FF3628FB-7BCF-A844-9A5F-7FBEDB9650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54"/>
          <a:stretch/>
        </p:blipFill>
        <p:spPr>
          <a:xfrm>
            <a:off x="638134" y="1062951"/>
            <a:ext cx="5657563" cy="5795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45779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ærligt for ta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For tag gælder, at der ikke udløses energikrav også ved reparationer af taget, hvis det omfatter mere end 50 % af tagfladen. </a:t>
            </a:r>
          </a:p>
          <a:p>
            <a:pPr marL="0" indent="0">
              <a:buNone/>
            </a:pPr>
            <a:br>
              <a:rPr lang="da-DK"/>
            </a:br>
            <a:r>
              <a:rPr lang="da-DK" sz="1400" err="1"/>
              <a:t>eksempelsamling.bygningsreglementet.dk</a:t>
            </a:r>
            <a:r>
              <a:rPr lang="da-DK" sz="1400"/>
              <a:t>/</a:t>
            </a:r>
            <a:r>
              <a:rPr lang="da-DK" sz="1400" err="1"/>
              <a:t>ex_aendringer_krav</a:t>
            </a:r>
            <a:endParaRPr lang="da-DK" sz="1400"/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78748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BR18 overblikket på </a:t>
            </a:r>
            <a:r>
              <a:rPr lang="da-DK" err="1"/>
              <a:t>ByggeriOgEnergi.dk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3987062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BR18 overblikket hjælper med at finde ud af, hvad kravene er ved renovering.</a:t>
            </a:r>
          </a:p>
          <a:p>
            <a:pPr marL="0" indent="0">
              <a:buNone/>
            </a:pPr>
            <a:br>
              <a:rPr lang="da-DK"/>
            </a:br>
            <a:r>
              <a:rPr lang="da-DK" sz="1400" err="1"/>
              <a:t>byggeriogenergi.dk</a:t>
            </a:r>
            <a:endParaRPr lang="da-DK" sz="14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0E823E4D-DD25-DD29-C405-52CF200C14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5540" y="1982269"/>
            <a:ext cx="6193591" cy="4917771"/>
          </a:xfrm>
          <a:prstGeom prst="rect">
            <a:avLst/>
          </a:prstGeom>
          <a:effectLst>
            <a:outerShdw blurRad="333559" sx="102000" sy="102000" algn="ctr" rotWithShape="0">
              <a:prstClr val="black">
                <a:alpha val="1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837650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nergiløsninger gør det letter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7F581190-A1E4-F1C9-5B5C-974843752B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154" y="3429000"/>
            <a:ext cx="5145320" cy="2704968"/>
          </a:xfrm>
          <a:prstGeom prst="rect">
            <a:avLst/>
          </a:prstGeom>
        </p:spPr>
      </p:pic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E502F1F4-62EE-5BAE-7D60-7FF8518EF6FE}"/>
              </a:ext>
            </a:extLst>
          </p:cNvPr>
          <p:cNvSpPr txBox="1">
            <a:spLocks/>
          </p:cNvSpPr>
          <p:nvPr/>
        </p:nvSpPr>
        <p:spPr>
          <a:xfrm>
            <a:off x="647998" y="1903174"/>
            <a:ext cx="5156475" cy="914400"/>
          </a:xfrm>
          <a:prstGeom prst="rect">
            <a:avLst/>
          </a:prstGeom>
        </p:spPr>
        <p:txBody>
          <a:bodyPr l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>
                <a:solidFill>
                  <a:schemeClr val="tx1"/>
                </a:solidFill>
              </a:rPr>
              <a:t>Energiløsninger til 79 forskellige bygningsdele og installationer</a:t>
            </a:r>
          </a:p>
        </p:txBody>
      </p:sp>
      <p:sp>
        <p:nvSpPr>
          <p:cNvPr id="8" name="Tekstboks 6">
            <a:extLst>
              <a:ext uri="{FF2B5EF4-FFF2-40B4-BE49-F238E27FC236}">
                <a16:creationId xmlns:a16="http://schemas.microsoft.com/office/drawing/2014/main" id="{33BE8750-1530-1239-E03D-C64736F58F8E}"/>
              </a:ext>
            </a:extLst>
          </p:cNvPr>
          <p:cNvSpPr txBox="1"/>
          <p:nvPr/>
        </p:nvSpPr>
        <p:spPr>
          <a:xfrm>
            <a:off x="6387528" y="1903174"/>
            <a:ext cx="4751845" cy="2054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000">
                <a:solidFill>
                  <a:schemeClr val="tx2"/>
                </a:solidFill>
                <a:latin typeface="IBM Plex Sans" panose="020B0503050203000203" pitchFamily="34" charset="0"/>
              </a:rPr>
              <a:t>til klimaskærm</a:t>
            </a:r>
          </a:p>
          <a:p>
            <a:pPr marL="27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000">
                <a:solidFill>
                  <a:schemeClr val="tx2"/>
                </a:solidFill>
                <a:latin typeface="IBM Plex Sans" panose="020B0503050203000203" pitchFamily="34" charset="0"/>
              </a:rPr>
              <a:t>til installationer</a:t>
            </a:r>
          </a:p>
          <a:p>
            <a:pPr marL="27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000">
                <a:solidFill>
                  <a:schemeClr val="tx2"/>
                </a:solidFill>
                <a:latin typeface="IBM Plex Sans" panose="020B0503050203000203" pitchFamily="34" charset="0"/>
              </a:rPr>
              <a:t>til etageejendomme</a:t>
            </a:r>
          </a:p>
          <a:p>
            <a:pPr marL="270000" indent="-270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2000">
                <a:solidFill>
                  <a:schemeClr val="tx2"/>
                </a:solidFill>
                <a:latin typeface="IBM Plex Sans" panose="020B0503050203000203" pitchFamily="34" charset="0"/>
              </a:rPr>
              <a:t>til el og ventilation i kontorbygninger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>
              <a:latin typeface="Trebuchet MS" panose="020B0603020202020204" pitchFamily="34" charset="0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C2B8F711-546C-7D1C-B8E9-7EE0DBF295EF}"/>
              </a:ext>
            </a:extLst>
          </p:cNvPr>
          <p:cNvSpPr txBox="1"/>
          <p:nvPr/>
        </p:nvSpPr>
        <p:spPr>
          <a:xfrm>
            <a:off x="6387528" y="3818414"/>
            <a:ext cx="4261581" cy="857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da-DK" sz="2000" b="1">
                <a:latin typeface="IBM Plex Sans SemiBold" panose="020B0503050203000203" pitchFamily="34" charset="0"/>
              </a:rPr>
              <a:t>Find energiløsningerne på </a:t>
            </a:r>
            <a:r>
              <a:rPr lang="da-DK" sz="2000" b="1" err="1">
                <a:latin typeface="IBM Plex Sans SemiBold" panose="020B0503050203000203" pitchFamily="34" charset="0"/>
              </a:rPr>
              <a:t>ByggeriOgEnergi.dk</a:t>
            </a:r>
            <a:endParaRPr lang="da-DK" sz="2000" b="1">
              <a:latin typeface="IBM Plex Sans SemiBold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6926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nergibesparels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44EC4D7F-85F4-221A-5CE7-7994DFEE6F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6120979"/>
              </p:ext>
            </p:extLst>
          </p:nvPr>
        </p:nvGraphicFramePr>
        <p:xfrm>
          <a:off x="647999" y="1765738"/>
          <a:ext cx="10701190" cy="468761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547146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4193627">
                  <a:extLst>
                    <a:ext uri="{9D8B030D-6E8A-4147-A177-3AD203B41FA5}">
                      <a16:colId xmlns:a16="http://schemas.microsoft.com/office/drawing/2014/main" val="1800107779"/>
                    </a:ext>
                  </a:extLst>
                </a:gridCol>
                <a:gridCol w="3960417">
                  <a:extLst>
                    <a:ext uri="{9D8B030D-6E8A-4147-A177-3AD203B41FA5}">
                      <a16:colId xmlns:a16="http://schemas.microsoft.com/office/drawing/2014/main" val="1856066919"/>
                    </a:ext>
                  </a:extLst>
                </a:gridCol>
              </a:tblGrid>
              <a:tr h="468761">
                <a:tc rowSpan="3">
                  <a:txBody>
                    <a:bodyPr/>
                    <a:lstStyle/>
                    <a:p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Eksisterende </a:t>
                      </a:r>
                      <a:b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</a:br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isoleringstykkelse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1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Ny samlet isoleringstykkelse</a:t>
                      </a:r>
                      <a:endParaRPr lang="el-GR" sz="16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468761">
                <a:tc vMerge="1">
                  <a:txBody>
                    <a:bodyPr/>
                    <a:lstStyle/>
                    <a:p>
                      <a:endParaRPr lang="da-DK" sz="16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Minimum 300 mm isolering U = 0,12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Lavenergi 400 mm isolering U = 0,10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520918"/>
                  </a:ext>
                </a:extLst>
              </a:tr>
              <a:tr h="468761">
                <a:tc vMerge="1">
                  <a:txBody>
                    <a:bodyPr/>
                    <a:lstStyle/>
                    <a:p>
                      <a:endParaRPr lang="da-DK" sz="1600" b="1" i="0" kern="1200">
                        <a:solidFill>
                          <a:schemeClr val="tx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Energibesparelse i kWh/m</a:t>
                      </a:r>
                      <a:r>
                        <a:rPr lang="da-DK" sz="1600" b="0" i="0" kern="1200" baseline="300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 pr. år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0040473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0 mm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>
                          <a:latin typeface="IBM Plex Sans" panose="020B0503050203000203" pitchFamily="34" charset="0"/>
                        </a:rPr>
                        <a:t>173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76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0 mm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>
                          <a:latin typeface="IBM Plex Sans" panose="020B0503050203000203" pitchFamily="34" charset="0"/>
                        </a:rPr>
                        <a:t>44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46</a:t>
                      </a:r>
                      <a:endParaRPr lang="da-DK" sz="1600" b="0" i="0">
                        <a:latin typeface="IBM Plex Sans" panose="020B0503050203000203" pitchFamily="34" charset="0"/>
                      </a:endParaRPr>
                    </a:p>
                  </a:txBody>
                  <a:tcPr marL="144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0 m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25 m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735107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50 m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375798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75 m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75426"/>
                  </a:ext>
                </a:extLst>
              </a:tr>
              <a:tr h="468761">
                <a:tc>
                  <a:txBody>
                    <a:bodyPr/>
                    <a:lstStyle/>
                    <a:p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00 mm</a:t>
                      </a:r>
                    </a:p>
                  </a:txBody>
                  <a:tcPr marL="144000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600" b="0" i="0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5616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340749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ltid krav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Du skal (stort set) altid efterisolere</a:t>
            </a:r>
          </a:p>
          <a:p>
            <a:pPr lvl="1"/>
            <a:r>
              <a:rPr lang="da-DK"/>
              <a:t>(undtagelser: fredede bygninger og ved fugttekniske udfordringer)</a:t>
            </a:r>
          </a:p>
          <a:p>
            <a:endParaRPr lang="da-DK"/>
          </a:p>
          <a:p>
            <a:r>
              <a:rPr lang="da-DK"/>
              <a:t>Måske kan du ikke gå hele vejen til krav i bilag 2 til BR18 kap. 11 – men så et lavere byggeteknisk muligt og rentabelt niveau</a:t>
            </a:r>
          </a:p>
          <a:p>
            <a:endParaRPr lang="da-DK"/>
          </a:p>
          <a:p>
            <a:r>
              <a:rPr lang="da-DK"/>
              <a:t>Svarer som regel til, hvad der er plads til af isolering (fx i hulmur og på skråvæg)</a:t>
            </a:r>
            <a:endParaRPr lang="da-DK" sz="1400"/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94536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Hvad er rentabilitet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3363312"/>
            <a:ext cx="5448000" cy="30568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= Betalt tilbage ved sparede energi-omkostninger inden for ¾ af levetiden </a:t>
            </a:r>
          </a:p>
          <a:p>
            <a:r>
              <a:rPr lang="da-DK"/>
              <a:t>Medregn kun ekstra investering ved isolering o.l. samt følgearbejder</a:t>
            </a:r>
          </a:p>
          <a:p>
            <a:r>
              <a:rPr lang="da-DK"/>
              <a:t>Find besparelsen i energiløsningerne eller med Byggeri og </a:t>
            </a:r>
            <a:r>
              <a:rPr lang="da-DK" err="1"/>
              <a:t>Energi’s</a:t>
            </a:r>
            <a:r>
              <a:rPr lang="da-DK"/>
              <a:t> besparelses-beregner</a:t>
            </a:r>
            <a:endParaRPr lang="da-DK" sz="1400"/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76C891E5-1E74-0D44-A3B8-B6324610050F}"/>
              </a:ext>
            </a:extLst>
          </p:cNvPr>
          <p:cNvSpPr txBox="1">
            <a:spLocks/>
          </p:cNvSpPr>
          <p:nvPr/>
        </p:nvSpPr>
        <p:spPr>
          <a:xfrm>
            <a:off x="647999" y="2143697"/>
            <a:ext cx="4306243" cy="7882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b="1">
                <a:latin typeface="IBM Plex Sans SemiBold" panose="020B0503050203000203" pitchFamily="34" charset="0"/>
              </a:rPr>
              <a:t>Levetid i år x årlig besparelse i kr.</a:t>
            </a:r>
          </a:p>
          <a:p>
            <a:pPr marL="0" indent="0" algn="ctr">
              <a:buNone/>
            </a:pPr>
            <a:r>
              <a:rPr lang="da-DK" b="1">
                <a:latin typeface="IBM Plex Sans SemiBold" panose="020B0503050203000203" pitchFamily="34" charset="0"/>
              </a:rPr>
              <a:t>Ekstra investering i kr</a:t>
            </a:r>
            <a:r>
              <a:rPr lang="da-DK" sz="1400" b="1">
                <a:latin typeface="IBM Plex Sans SemiBold" panose="020B0503050203000203" pitchFamily="34" charset="0"/>
              </a:rPr>
              <a:t>.</a:t>
            </a:r>
            <a:endParaRPr lang="da-DK" b="1">
              <a:latin typeface="IBM Plex Sans SemiBold" panose="020B0503050203000203" pitchFamily="34" charset="0"/>
            </a:endParaRPr>
          </a:p>
        </p:txBody>
      </p:sp>
      <p:sp>
        <p:nvSpPr>
          <p:cNvPr id="11" name="Pladsholder til indhold 3">
            <a:extLst>
              <a:ext uri="{FF2B5EF4-FFF2-40B4-BE49-F238E27FC236}">
                <a16:creationId xmlns:a16="http://schemas.microsoft.com/office/drawing/2014/main" id="{08475A2D-3E98-AC37-2300-948BFD5E546E}"/>
              </a:ext>
            </a:extLst>
          </p:cNvPr>
          <p:cNvSpPr txBox="1">
            <a:spLocks/>
          </p:cNvSpPr>
          <p:nvPr/>
        </p:nvSpPr>
        <p:spPr>
          <a:xfrm>
            <a:off x="4954241" y="2343393"/>
            <a:ext cx="1215331" cy="7882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b="1" u="none" strike="noStrike">
                <a:solidFill>
                  <a:srgbClr val="000000"/>
                </a:solidFill>
                <a:effectLst/>
                <a:latin typeface="IBM Plex Sans SemiBold" panose="020B0503050203000203" pitchFamily="34" charset="0"/>
              </a:rPr>
              <a:t>≥</a:t>
            </a:r>
            <a:r>
              <a:rPr lang="da-DK" b="1">
                <a:latin typeface="IBM Plex Sans SemiBold" panose="020B0503050203000203" pitchFamily="34" charset="0"/>
              </a:rPr>
              <a:t> 1,33</a:t>
            </a:r>
          </a:p>
        </p:txBody>
      </p:sp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967FC7F1-0DF1-897D-61D6-35DFF52212E8}"/>
              </a:ext>
            </a:extLst>
          </p:cNvPr>
          <p:cNvCxnSpPr>
            <a:cxnSpLocks/>
          </p:cNvCxnSpPr>
          <p:nvPr/>
        </p:nvCxnSpPr>
        <p:spPr>
          <a:xfrm>
            <a:off x="746234" y="2532581"/>
            <a:ext cx="420800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922804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Rentabilitet og levetid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C6A856A0-79D6-6237-08AC-46D0CAD519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56453"/>
              </p:ext>
            </p:extLst>
          </p:nvPr>
        </p:nvGraphicFramePr>
        <p:xfrm>
          <a:off x="647999" y="1991041"/>
          <a:ext cx="10701190" cy="442026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9147642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1553548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532598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Levetider, der kan anvendes ved beregning af rentabilitet: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År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Efterisolering af bygningsdele 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40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Vinduer samt forsatsrammer og koblede rammer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30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23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Varmeanlæg, radiatorer og gulvvarme samt ventilationskanaler og armaturer inklusive isolering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7175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30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  <a:tr h="6123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Varmeproducerende anlæg mv., fx kedler, varmepumper, solvarmeanlæg, ventilationsaggregater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20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710376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Belysningsarmaturer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15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13550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Automatik til varme- og klimaanlæg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15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22243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Fugetætningsarbejder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10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1103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713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4B30C2-0363-635F-C545-AC8159E2A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finition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F02B929-13CA-9EA6-F120-B3DD1B8BE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2463800"/>
            <a:ext cx="3174700" cy="3873200"/>
          </a:xfrm>
        </p:spPr>
        <p:txBody>
          <a:bodyPr/>
          <a:lstStyle/>
          <a:p>
            <a:pPr marL="0" indent="0">
              <a:buNone/>
            </a:pPr>
            <a:r>
              <a:rPr lang="da-DK" sz="1800" b="1"/>
              <a:t>Ændret anvendelse</a:t>
            </a:r>
          </a:p>
          <a:p>
            <a:pPr marL="0" indent="0">
              <a:buNone/>
            </a:pPr>
            <a:r>
              <a:rPr lang="da-DK"/>
              <a:t>Når rum bygges om til nyt formål med et væsentligt højere energiforbrug fx</a:t>
            </a:r>
          </a:p>
          <a:p>
            <a:r>
              <a:rPr lang="da-DK"/>
              <a:t>udhus inddrages til beboelse</a:t>
            </a:r>
          </a:p>
          <a:p>
            <a:r>
              <a:rPr lang="da-DK"/>
              <a:t>uudnyttet tagetage inddrages til beboelse</a:t>
            </a:r>
          </a:p>
          <a:p>
            <a:r>
              <a:rPr lang="da-DK"/>
              <a:t>tidligere pakhus, stald e.l. bygges om til kontorer</a:t>
            </a:r>
          </a:p>
          <a:p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CF79218-0526-EB9F-DA6C-56FC8D2556F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53100" y="2463800"/>
            <a:ext cx="3001800" cy="3873200"/>
          </a:xfrm>
        </p:spPr>
        <p:txBody>
          <a:bodyPr/>
          <a:lstStyle/>
          <a:p>
            <a:pPr marL="0" indent="0">
              <a:buNone/>
            </a:pPr>
            <a:r>
              <a:rPr lang="da-DK" sz="1800" b="1"/>
              <a:t>Tilbygning</a:t>
            </a:r>
          </a:p>
          <a:p>
            <a:pPr marL="0" indent="0">
              <a:buNone/>
            </a:pPr>
            <a:r>
              <a:rPr lang="da-DK"/>
              <a:t>Når du opfører flere kvadratmeter i tilknytning til eksisterende bygning fx</a:t>
            </a:r>
          </a:p>
          <a:p>
            <a:r>
              <a:rPr lang="da-DK"/>
              <a:t>ny fløj (i samme niveau som eksisterende bygning)</a:t>
            </a:r>
          </a:p>
          <a:p>
            <a:r>
              <a:rPr lang="da-DK"/>
              <a:t>ny tagetage (oven på eksisterende bygning)</a:t>
            </a:r>
          </a:p>
          <a:p>
            <a:r>
              <a:rPr lang="da-DK"/>
              <a:t>ny kvist</a:t>
            </a:r>
          </a:p>
          <a:p>
            <a:pPr marL="0" indent="0">
              <a:buNone/>
            </a:pPr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C39CADC2-535C-E5DC-D5CD-4BEBF57B43C9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31500" y="2463800"/>
            <a:ext cx="3158800" cy="3873200"/>
          </a:xfrm>
        </p:spPr>
        <p:txBody>
          <a:bodyPr/>
          <a:lstStyle/>
          <a:p>
            <a:pPr marL="0" indent="0">
              <a:buNone/>
            </a:pPr>
            <a:r>
              <a:rPr lang="da-DK" sz="1800" b="1"/>
              <a:t>Ombygning og andre forandringer</a:t>
            </a:r>
          </a:p>
          <a:p>
            <a:pPr marL="0" indent="0">
              <a:buNone/>
            </a:pPr>
            <a:r>
              <a:rPr lang="da-DK"/>
              <a:t>Når noget bygges om eller forandres, som ikke falder under ændret anvendelse og tilbygning fx </a:t>
            </a:r>
          </a:p>
          <a:p>
            <a:r>
              <a:rPr lang="da-DK"/>
              <a:t>ny tagbelægning fx nyt tegltag el. stålpladetag</a:t>
            </a:r>
          </a:p>
          <a:p>
            <a:r>
              <a:rPr lang="da-DK"/>
              <a:t>ny </a:t>
            </a:r>
            <a:r>
              <a:rPr lang="da-DK" err="1"/>
              <a:t>regnskærm</a:t>
            </a:r>
            <a:r>
              <a:rPr lang="da-DK"/>
              <a:t> på let ydervæg</a:t>
            </a:r>
          </a:p>
          <a:p>
            <a:r>
              <a:rPr lang="da-DK"/>
              <a:t>ny-pudsning af facade (ikke tidligere pudset)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CE50DE9E-50D7-0A18-DED8-BB5FD1C39B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300" y="1649523"/>
            <a:ext cx="647700" cy="60076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7E10A427-074A-EC1E-0DF8-954C6DA5AA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6900" y="1653423"/>
            <a:ext cx="647700" cy="592964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E5F09877-CF30-BC50-4858-28D8243FC8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2527" y="1621429"/>
            <a:ext cx="637045" cy="65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81636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Ansva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</a:pPr>
            <a:r>
              <a:rPr lang="da-DK"/>
              <a:t>Det er bygningsejerens ansvar</a:t>
            </a:r>
          </a:p>
          <a:p>
            <a:pPr>
              <a:spcAft>
                <a:spcPts val="900"/>
              </a:spcAft>
            </a:pPr>
            <a:r>
              <a:rPr lang="da-DK"/>
              <a:t>At der laves en rentabilitetsberegning</a:t>
            </a:r>
          </a:p>
          <a:p>
            <a:pPr>
              <a:spcAft>
                <a:spcPts val="900"/>
              </a:spcAft>
            </a:pPr>
            <a:r>
              <a:rPr lang="da-DK"/>
              <a:t>At opbevare rentabilitetsberegningen </a:t>
            </a:r>
            <a:br>
              <a:rPr lang="da-DK"/>
            </a:br>
            <a:r>
              <a:rPr lang="da-DK"/>
              <a:t>– og at gemme det til ejerskifte for bygningen, hvor den udleveres til ny ejer</a:t>
            </a:r>
            <a:br>
              <a:rPr lang="da-DK"/>
            </a:br>
            <a:endParaRPr lang="da-DK"/>
          </a:p>
          <a:p>
            <a:pPr marL="0" indent="0">
              <a:spcAft>
                <a:spcPts val="900"/>
              </a:spcAft>
              <a:buNone/>
            </a:pPr>
            <a:r>
              <a:rPr lang="da-DK"/>
              <a:t>Men som håndværker har du et professionelt ansvar for, at BR overholdes </a:t>
            </a:r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0611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Bygningsmæssige ændring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da-DK" b="1"/>
              <a:t>§269-270 </a:t>
            </a:r>
            <a:br>
              <a:rPr lang="da-DK"/>
            </a:br>
            <a:r>
              <a:rPr lang="da-DK"/>
              <a:t>Ændringer, der medfører større energiforbrug kan gennemføres, hvis du kompenserer </a:t>
            </a:r>
          </a:p>
          <a:p>
            <a:pPr lvl="1">
              <a:spcAft>
                <a:spcPts val="900"/>
              </a:spcAft>
            </a:pPr>
            <a:r>
              <a:rPr lang="da-DK"/>
              <a:t>Fx ved nye vinduespartier i facade el. tag </a:t>
            </a:r>
          </a:p>
          <a:p>
            <a:pPr>
              <a:spcAft>
                <a:spcPts val="900"/>
              </a:spcAft>
            </a:pPr>
            <a:r>
              <a:rPr lang="da-DK"/>
              <a:t>Kompensation er fx mere isolering, solvarme, varmepumpe eller solceller </a:t>
            </a:r>
          </a:p>
          <a:p>
            <a:pPr>
              <a:spcAft>
                <a:spcPts val="900"/>
              </a:spcAft>
            </a:pPr>
            <a:r>
              <a:rPr lang="da-DK"/>
              <a:t>Brug simpel beregning og fx værdier fra energiløsningerne</a:t>
            </a:r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00365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kal være fugtteknisk forsvarligt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Brug </a:t>
            </a:r>
            <a:r>
              <a:rPr lang="da-DK" err="1"/>
              <a:t>SBi</a:t>
            </a:r>
            <a:r>
              <a:rPr lang="da-DK"/>
              <a:t>-anvisningerne</a:t>
            </a:r>
          </a:p>
          <a:p>
            <a:r>
              <a:rPr lang="da-DK"/>
              <a:t>Nr. 239, Efterisolering af småhuse – energibesparelser og planlægning</a:t>
            </a:r>
          </a:p>
          <a:p>
            <a:r>
              <a:rPr lang="da-DK"/>
              <a:t>Nr. 240, Efterisolering af småhuse – byggetekniske løsninger</a:t>
            </a:r>
          </a:p>
          <a:p>
            <a:r>
              <a:rPr lang="da-DK"/>
              <a:t>Nr. 221, Efterisolering af etageboliger</a:t>
            </a:r>
          </a:p>
          <a:p>
            <a:r>
              <a:rPr lang="da-DK"/>
              <a:t>Nr. 224, Fugt i bygninger</a:t>
            </a:r>
          </a:p>
          <a:p>
            <a:r>
              <a:rPr lang="da-DK"/>
              <a:t>Nr. 272, Bygningsreglement 2018</a:t>
            </a:r>
          </a:p>
          <a:p>
            <a:endParaRPr lang="da-DK"/>
          </a:p>
          <a:p>
            <a:pPr marL="0" indent="0">
              <a:buNone/>
            </a:pPr>
            <a:r>
              <a:rPr lang="da-DK"/>
              <a:t>Er der et fugtteknisk problem, betyder det ikke, at du slet ikke skal gøre noget – men at du skal gøre noget mindre omfattende!</a:t>
            </a:r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60888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etode 2</a:t>
            </a:r>
          </a:p>
        </p:txBody>
      </p:sp>
      <p:sp>
        <p:nvSpPr>
          <p:cNvPr id="13" name="Pladsholder til indhold 12">
            <a:extLst>
              <a:ext uri="{FF2B5EF4-FFF2-40B4-BE49-F238E27FC236}">
                <a16:creationId xmlns:a16="http://schemas.microsoft.com/office/drawing/2014/main" id="{0E94F305-5F75-157C-DA4A-05FDE69A14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/>
              <a:t>Energirammeberegning for eksisterende bygning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1717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Baggrund for Renoveringsklassern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328594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/>
              <a:t>Introduceret for at give større fleksibilitet</a:t>
            </a:r>
          </a:p>
          <a:p>
            <a:r>
              <a:rPr lang="da-DK"/>
              <a:t>God mulighed ved totalrenovering</a:t>
            </a:r>
          </a:p>
          <a:p>
            <a:r>
              <a:rPr lang="da-DK"/>
              <a:t>Renoveringsklasse 1 er primært tiltænkt bygningsejere, der ønsker ”blåstempling” af deres bygning</a:t>
            </a:r>
          </a:p>
          <a:p>
            <a:pPr lvl="1"/>
            <a:r>
              <a:rPr lang="da-DK"/>
              <a:t>Fx etageboligejendom med lejede lejligheder af høj kvalitet – eller kontorbygning ejet af en virksomhed eller firma</a:t>
            </a:r>
            <a:br>
              <a:rPr lang="da-DK"/>
            </a:br>
            <a:endParaRPr lang="da-DK"/>
          </a:p>
          <a:p>
            <a:r>
              <a:rPr lang="da-DK"/>
              <a:t>Giver større sikkerhed for godt indeklima ved Renoveringsklasse 1</a:t>
            </a:r>
          </a:p>
        </p:txBody>
      </p:sp>
      <p:pic>
        <p:nvPicPr>
          <p:cNvPr id="6" name="Pladsholder til billede 6">
            <a:extLst>
              <a:ext uri="{FF2B5EF4-FFF2-40B4-BE49-F238E27FC236}">
                <a16:creationId xmlns:a16="http://schemas.microsoft.com/office/drawing/2014/main" id="{F7E6BDEF-2744-D36C-6CF5-48D863C774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23517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nergiramme for eksisterende bygninger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/>
              <a:t>I stedet for krav til, at der skal opnås en energibesparelse ved rentabel efterisolering på bygningsdelsniveau – så:</a:t>
            </a:r>
            <a:br>
              <a:rPr lang="da-DK"/>
            </a:br>
            <a:endParaRPr lang="da-DK"/>
          </a:p>
          <a:p>
            <a:r>
              <a:rPr lang="da-DK"/>
              <a:t>Frihed til andre energibesparende tiltag, </a:t>
            </a:r>
            <a:br>
              <a:rPr lang="da-DK"/>
            </a:br>
            <a:r>
              <a:rPr lang="da-DK"/>
              <a:t>der samlet nedbringer bygningens energibehov til fremtidssikret niveau</a:t>
            </a:r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751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at opnå Renoveringsklasse 1 eller 2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6C6B5CC-E746-7FE4-5A14-D47C3807BE93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448000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da-DK"/>
              <a:t>Renovering skal opfylde en energiramme</a:t>
            </a:r>
          </a:p>
          <a:p>
            <a:pPr marL="457200" indent="-457200">
              <a:buFont typeface="+mj-lt"/>
              <a:buAutoNum type="arabicPeriod"/>
            </a:pPr>
            <a:r>
              <a:rPr lang="da-DK"/>
              <a:t>Behovet for tilført energi pr. år skal reduceres med mindst 30 kWh/m2 i forhold til før renovering</a:t>
            </a:r>
          </a:p>
          <a:p>
            <a:pPr marL="457200" indent="-457200">
              <a:buFont typeface="+mj-lt"/>
              <a:buAutoNum type="arabicPeriod"/>
            </a:pPr>
            <a:r>
              <a:rPr lang="da-DK"/>
              <a:t>Der skal være en andel af vedvarende energi i den samlede energiforsyning til bygninger (som for nybyggeri)</a:t>
            </a:r>
          </a:p>
          <a:p>
            <a:pPr marL="457200" indent="-457200">
              <a:buFont typeface="+mj-lt"/>
              <a:buAutoNum type="arabicPeriod"/>
            </a:pPr>
            <a:r>
              <a:rPr lang="da-DK"/>
              <a:t>For Renoveringsklasse 1: krav vedr. indeklima i BR18’s §§ 382-384 (lys), </a:t>
            </a:r>
            <a:br>
              <a:rPr lang="da-DK"/>
            </a:br>
            <a:r>
              <a:rPr lang="da-DK"/>
              <a:t>§ 386 (termisk indeklima) og §§ 443-449 (ventilation) skal overholdes </a:t>
            </a:r>
          </a:p>
        </p:txBody>
      </p:sp>
      <p:pic>
        <p:nvPicPr>
          <p:cNvPr id="5" name="Pladsholder til billede 6">
            <a:extLst>
              <a:ext uri="{FF2B5EF4-FFF2-40B4-BE49-F238E27FC236}">
                <a16:creationId xmlns:a16="http://schemas.microsoft.com/office/drawing/2014/main" id="{47D2A39D-DB8F-F9F5-CE3B-62F584ACB9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07770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Energirammen i BR18 for eksisterende byggeri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Ombygning og andre forandringer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CBBF072-B0BB-4BB3-D76A-AA6897B057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154" y="317538"/>
            <a:ext cx="228105" cy="23951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B8919EC-8C41-8110-7E32-5F5F4C2C37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421" y="1952222"/>
            <a:ext cx="10128658" cy="2108467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B7797166-815B-1E6E-DB00-5853D4635F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44"/>
          <a:stretch/>
        </p:blipFill>
        <p:spPr>
          <a:xfrm>
            <a:off x="648421" y="4063825"/>
            <a:ext cx="10128658" cy="21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94408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Udskiftning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889BE02C-142F-97B4-24A8-A6C91E48FF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758" y="1910854"/>
            <a:ext cx="767879" cy="751002"/>
          </a:xfrm>
          <a:prstGeom prst="rect">
            <a:avLst/>
          </a:prstGeo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15E2A8D-DFF7-107A-8618-8A1A0985A6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Hvordan overholdes energikravene i BR18?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028042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DA4784D-15C1-B809-3C31-F5C027B4F331}"/>
              </a:ext>
            </a:extLst>
          </p:cNvPr>
          <p:cNvSpPr/>
          <p:nvPr/>
        </p:nvSpPr>
        <p:spPr>
          <a:xfrm>
            <a:off x="0" y="0"/>
            <a:ext cx="9063318" cy="7144871"/>
          </a:xfrm>
          <a:prstGeom prst="rect">
            <a:avLst/>
          </a:prstGeom>
          <a:solidFill>
            <a:srgbClr val="F69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2C85CD6-0111-A2F9-8115-8CDE47536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19E26AD-E034-BF2B-BF0A-39FE721F0D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0"/>
          <a:stretch/>
        </p:blipFill>
        <p:spPr>
          <a:xfrm>
            <a:off x="648000" y="1754018"/>
            <a:ext cx="5765568" cy="2214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16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4B30C2-0363-635F-C545-AC8159E2A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finition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F02B929-13CA-9EA6-F120-B3DD1B8BE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2463800"/>
            <a:ext cx="3174700" cy="3873200"/>
          </a:xfrm>
        </p:spPr>
        <p:txBody>
          <a:bodyPr/>
          <a:lstStyle/>
          <a:p>
            <a:pPr marL="0" indent="0">
              <a:buNone/>
            </a:pPr>
            <a:r>
              <a:rPr lang="da-DK" sz="1800" b="1"/>
              <a:t>Udskiftning</a:t>
            </a:r>
          </a:p>
          <a:p>
            <a:pPr marL="0" indent="0">
              <a:buNone/>
            </a:pPr>
            <a:r>
              <a:rPr lang="da-DK"/>
              <a:t>Når en bygningsdel tages ud af bygningen og erstattes af en ny – uden øvrige ændringer af bygningen fx </a:t>
            </a:r>
          </a:p>
          <a:p>
            <a:r>
              <a:rPr lang="da-DK"/>
              <a:t>udskiftning af kedel</a:t>
            </a:r>
          </a:p>
          <a:p>
            <a:r>
              <a:rPr lang="da-DK"/>
              <a:t>udskiftning af vinduer</a:t>
            </a:r>
          </a:p>
          <a:p>
            <a:r>
              <a:rPr lang="da-DK"/>
              <a:t>udskiftning af en </a:t>
            </a:r>
            <a:r>
              <a:rPr lang="da-DK" u="sng"/>
              <a:t>hel</a:t>
            </a:r>
            <a:r>
              <a:rPr lang="da-DK"/>
              <a:t> tagkonstruktion inkl. spær</a:t>
            </a:r>
          </a:p>
          <a:p>
            <a:pPr marL="0" indent="0">
              <a:buNone/>
            </a:pP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CF79218-0526-EB9F-DA6C-56FC8D2556F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53099" y="2463800"/>
            <a:ext cx="5542547" cy="3873200"/>
          </a:xfrm>
        </p:spPr>
        <p:txBody>
          <a:bodyPr/>
          <a:lstStyle/>
          <a:p>
            <a:pPr marL="0" indent="0">
              <a:buNone/>
            </a:pPr>
            <a:r>
              <a:rPr lang="da-DK" sz="1800" b="1"/>
              <a:t>Reparationer og vedligeholdelse</a:t>
            </a:r>
          </a:p>
          <a:p>
            <a:pPr marL="0" indent="0">
              <a:buNone/>
            </a:pPr>
            <a:r>
              <a:rPr lang="da-DK"/>
              <a:t>Er ikke omfattet af kravene – malerbehandling, maling af eternittag, reparation af puds på facader, </a:t>
            </a:r>
            <a:r>
              <a:rPr lang="da-DK" err="1"/>
              <a:t>ompudsning</a:t>
            </a:r>
            <a:r>
              <a:rPr lang="da-DK"/>
              <a:t> af facade, nye skotrender og inddækninger og lapning af huller i tagdækningen o.l.</a:t>
            </a:r>
          </a:p>
          <a:p>
            <a:pPr marL="0" indent="0">
              <a:buNone/>
            </a:pPr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CE50DE9E-50D7-0A18-DED8-BB5FD1C39B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665" y="1649523"/>
            <a:ext cx="618970" cy="60076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7E10A427-074A-EC1E-0DF8-954C6DA5AA5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873"/>
          <a:stretch/>
        </p:blipFill>
        <p:spPr>
          <a:xfrm>
            <a:off x="4425145" y="1653423"/>
            <a:ext cx="611209" cy="59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31819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Der skelnes mellem ombygning og udskiftn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Udskiftning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5E3F7382-2BAF-FCBB-54B7-5180DF3B6E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/>
              <a:t>OMBYGNING</a:t>
            </a:r>
          </a:p>
          <a:p>
            <a:r>
              <a:rPr lang="da-DK"/>
              <a:t>Ny gulvbelægning fx i et rum</a:t>
            </a:r>
          </a:p>
          <a:p>
            <a:r>
              <a:rPr lang="da-DK"/>
              <a:t>Nyt tagpap, nyt stråtag eller anden ny tagbelægning </a:t>
            </a:r>
          </a:p>
          <a:p>
            <a:r>
              <a:rPr lang="da-DK"/>
              <a:t>Ny puds på ikke pudset gasbeton eller murværksfacade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0A7A9895-D54D-41FF-BD12-87B8B5472E8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/>
              <a:t>UDSKIFTNING</a:t>
            </a:r>
          </a:p>
          <a:p>
            <a:r>
              <a:rPr lang="da-DK"/>
              <a:t>Ny terrændæks-konstruktion (fx efter vandskade)</a:t>
            </a:r>
          </a:p>
          <a:p>
            <a:r>
              <a:rPr lang="da-DK"/>
              <a:t>Ny hel tagkonstruktion inkl. tagdækning, spær, isolering og loft </a:t>
            </a:r>
          </a:p>
          <a:p>
            <a:r>
              <a:rPr lang="da-DK"/>
              <a:t>Nyt vindue eller ny dør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B26B6703-AAC6-DF67-B87C-E3DA5A7B77C5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EBB0CE5-2E8D-A3A1-595C-323BA70A8F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33812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dstekrav til klimaskærm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ADBD750-71F9-BB39-4FBA-6F61EFF2B3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998" y="1943999"/>
            <a:ext cx="10754419" cy="2344221"/>
          </a:xfrm>
          <a:prstGeom prst="rect">
            <a:avLst/>
          </a:prstGeom>
        </p:spPr>
      </p:pic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41C91F2F-92AB-F139-6BAB-52E90D04E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8A56E91-1B1B-719D-CC84-72B7E978E0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54422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ase: Tagbelægning skal udskiftes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41C91F2F-92AB-F139-6BAB-52E90D04E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8A56E91-1B1B-719D-CC84-72B7E978E0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5649105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/>
              <a:t>Hanebåndsloft</a:t>
            </a:r>
          </a:p>
          <a:p>
            <a:r>
              <a:rPr lang="da-DK"/>
              <a:t>30 m² vandret loft med 100 mm isolering</a:t>
            </a:r>
          </a:p>
          <a:p>
            <a:r>
              <a:rPr lang="da-DK"/>
              <a:t>60 m² skråvægge med 50 mm isolering mellem spær</a:t>
            </a:r>
          </a:p>
          <a:p>
            <a:endParaRPr lang="da-DK"/>
          </a:p>
          <a:p>
            <a:pPr marL="0" indent="0">
              <a:buNone/>
            </a:pPr>
            <a:r>
              <a:rPr lang="da-DK"/>
              <a:t>Varmeinstallation</a:t>
            </a:r>
          </a:p>
          <a:p>
            <a:r>
              <a:rPr lang="da-DK"/>
              <a:t>Ny oliekedel – varmepris: 1 kr. pr. kWh</a:t>
            </a:r>
          </a:p>
          <a:p>
            <a:endParaRPr lang="da-DK"/>
          </a:p>
          <a:p>
            <a:pPr marL="0" indent="0">
              <a:buNone/>
            </a:pPr>
            <a:r>
              <a:rPr lang="da-DK" b="1"/>
              <a:t>Hvad er kravene hér?</a:t>
            </a:r>
          </a:p>
          <a:p>
            <a:r>
              <a:rPr lang="da-DK"/>
              <a:t>Er det udskiftning eller ombygning?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28626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ase: Tagbelægning skal udskiftes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41C91F2F-92AB-F139-6BAB-52E90D04E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8A56E91-1B1B-719D-CC84-72B7E978E0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2630077"/>
            <a:ext cx="10824422" cy="2488678"/>
          </a:xfrm>
          <a:prstGeom prst="rect">
            <a:avLst/>
          </a:prstGeom>
        </p:spPr>
        <p:txBody>
          <a:bodyPr vert="horz" lIns="0" tIns="0" rIns="0" bIns="0" numCol="3" spcCol="360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a-DK" sz="1800" b="1"/>
              <a:t>Vandret loft </a:t>
            </a:r>
            <a:br>
              <a:rPr lang="da-DK" sz="1800" b="1"/>
            </a:br>
            <a:r>
              <a:rPr lang="da-DK" sz="1800"/>
              <a:t>efterisoleres til 300 mm oppefra + dampspærre</a:t>
            </a:r>
            <a:br>
              <a:rPr lang="da-DK" sz="1800"/>
            </a:br>
            <a:br>
              <a:rPr lang="da-DK" sz="1800"/>
            </a:br>
            <a:endParaRPr lang="da-DK" sz="1800"/>
          </a:p>
          <a:p>
            <a:pPr marL="0" indent="0">
              <a:lnSpc>
                <a:spcPct val="110000"/>
              </a:lnSpc>
              <a:buNone/>
            </a:pPr>
            <a:r>
              <a:rPr lang="da-DK" sz="1800" u="sng"/>
              <a:t>Besparelse</a:t>
            </a:r>
            <a:r>
              <a:rPr lang="da-DK" sz="1800"/>
              <a:t> </a:t>
            </a:r>
            <a:br>
              <a:rPr lang="da-DK" sz="1800"/>
            </a:br>
            <a:r>
              <a:rPr lang="da-DK" sz="1800"/>
              <a:t>30 m² ­x 24 kWh/m² x 1 kr./kWh = 720 kr. pr. år</a:t>
            </a:r>
          </a:p>
          <a:p>
            <a:pPr marL="0" indent="0">
              <a:lnSpc>
                <a:spcPct val="110000"/>
              </a:lnSpc>
              <a:buNone/>
            </a:pPr>
            <a:endParaRPr lang="da-DK" sz="1800"/>
          </a:p>
          <a:p>
            <a:pPr marL="0" indent="0">
              <a:lnSpc>
                <a:spcPct val="110000"/>
              </a:lnSpc>
              <a:buNone/>
            </a:pPr>
            <a:r>
              <a:rPr lang="da-DK" sz="1800" b="1"/>
              <a:t>Skråvægge</a:t>
            </a:r>
            <a:r>
              <a:rPr lang="da-DK" sz="1800"/>
              <a:t> </a:t>
            </a:r>
            <a:br>
              <a:rPr lang="da-DK" sz="1800"/>
            </a:br>
            <a:r>
              <a:rPr lang="da-DK" sz="1800"/>
              <a:t>efterisoleres til 150 mm i hulrum (</a:t>
            </a:r>
            <a:r>
              <a:rPr lang="da-DK" sz="1800" err="1"/>
              <a:t>spærtykkelse</a:t>
            </a:r>
            <a:r>
              <a:rPr lang="da-DK" sz="1800"/>
              <a:t>) uden dampspærre</a:t>
            </a:r>
            <a:br>
              <a:rPr lang="da-DK" sz="1800"/>
            </a:br>
            <a:endParaRPr lang="da-DK" sz="1800"/>
          </a:p>
          <a:p>
            <a:pPr marL="0" indent="0">
              <a:lnSpc>
                <a:spcPct val="110000"/>
              </a:lnSpc>
              <a:buNone/>
            </a:pPr>
            <a:r>
              <a:rPr lang="da-DK" sz="1800" u="sng"/>
              <a:t>Besparelse</a:t>
            </a:r>
            <a:br>
              <a:rPr lang="da-DK" sz="1800"/>
            </a:br>
            <a:r>
              <a:rPr lang="da-DK" sz="1800"/>
              <a:t>60 m² x 44 kWh/m² x 1 kr./kWh = 2.640 kr. pr. år</a:t>
            </a:r>
          </a:p>
          <a:p>
            <a:pPr marL="0" indent="0">
              <a:lnSpc>
                <a:spcPct val="110000"/>
              </a:lnSpc>
              <a:buNone/>
            </a:pPr>
            <a:endParaRPr lang="da-DK" sz="1800"/>
          </a:p>
          <a:p>
            <a:pPr marL="0" indent="0">
              <a:lnSpc>
                <a:spcPct val="110000"/>
              </a:lnSpc>
              <a:buNone/>
            </a:pPr>
            <a:r>
              <a:rPr lang="da-DK" sz="1800" b="1"/>
              <a:t>Skråvægge</a:t>
            </a:r>
            <a:r>
              <a:rPr lang="da-DK" sz="1800"/>
              <a:t> </a:t>
            </a:r>
            <a:br>
              <a:rPr lang="da-DK" sz="1800"/>
            </a:br>
            <a:r>
              <a:rPr lang="da-DK" sz="1800"/>
              <a:t>efterisoleres yderligere ved </a:t>
            </a:r>
            <a:r>
              <a:rPr lang="da-DK" sz="1800" err="1"/>
              <a:t>påforing</a:t>
            </a:r>
            <a:r>
              <a:rPr lang="da-DK" sz="1800"/>
              <a:t> af spær fra 150 mm til 300 mm + dampspærre</a:t>
            </a:r>
            <a:br>
              <a:rPr lang="da-DK" sz="1800"/>
            </a:br>
            <a:endParaRPr lang="da-DK" sz="1800"/>
          </a:p>
          <a:p>
            <a:pPr marL="0" indent="0">
              <a:lnSpc>
                <a:spcPct val="110000"/>
              </a:lnSpc>
              <a:buNone/>
            </a:pPr>
            <a:r>
              <a:rPr lang="da-DK" sz="1800" u="sng"/>
              <a:t>Besparelse</a:t>
            </a:r>
            <a:r>
              <a:rPr lang="da-DK" sz="1800"/>
              <a:t> </a:t>
            </a:r>
            <a:br>
              <a:rPr lang="da-DK" sz="1800"/>
            </a:br>
            <a:r>
              <a:rPr lang="da-DK" sz="1800"/>
              <a:t>60 m² x 14 kWh/m² x 1 kr./kWh = 840 kr. pr. år</a:t>
            </a:r>
          </a:p>
        </p:txBody>
      </p:sp>
      <p:sp>
        <p:nvSpPr>
          <p:cNvPr id="5" name="Pladsholder til indhold 3">
            <a:extLst>
              <a:ext uri="{FF2B5EF4-FFF2-40B4-BE49-F238E27FC236}">
                <a16:creationId xmlns:a16="http://schemas.microsoft.com/office/drawing/2014/main" id="{C287C558-EC79-D285-5FE3-FC72BE2F7DAB}"/>
              </a:ext>
            </a:extLst>
          </p:cNvPr>
          <p:cNvSpPr txBox="1">
            <a:spLocks/>
          </p:cNvSpPr>
          <p:nvPr/>
        </p:nvSpPr>
        <p:spPr>
          <a:xfrm>
            <a:off x="647999" y="1894786"/>
            <a:ext cx="10824422" cy="2488678"/>
          </a:xfrm>
          <a:prstGeom prst="rect">
            <a:avLst/>
          </a:prstGeom>
        </p:spPr>
        <p:txBody>
          <a:bodyPr vert="horz" lIns="0" tIns="0" rIns="0" bIns="0" numCol="3" spcCol="36000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/>
              <a:t>VARMEBESPARELSE</a:t>
            </a:r>
            <a:endParaRPr lang="da-DK"/>
          </a:p>
        </p:txBody>
      </p:sp>
      <p:sp>
        <p:nvSpPr>
          <p:cNvPr id="6" name="Billedforklaring med nedadgående pil 5">
            <a:extLst>
              <a:ext uri="{FF2B5EF4-FFF2-40B4-BE49-F238E27FC236}">
                <a16:creationId xmlns:a16="http://schemas.microsoft.com/office/drawing/2014/main" id="{6C6AFD40-3C9A-73F8-1580-ED9A45BB138E}"/>
              </a:ext>
            </a:extLst>
          </p:cNvPr>
          <p:cNvSpPr/>
          <p:nvPr/>
        </p:nvSpPr>
        <p:spPr>
          <a:xfrm>
            <a:off x="647998" y="4078352"/>
            <a:ext cx="3396101" cy="84074"/>
          </a:xfrm>
          <a:prstGeom prst="downArrowCallout">
            <a:avLst>
              <a:gd name="adj1" fmla="val 2620"/>
              <a:gd name="adj2" fmla="val 94227"/>
              <a:gd name="adj3" fmla="val 72913"/>
              <a:gd name="adj4" fmla="val 12118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11" name="Billedforklaring med nedadgående pil 10">
            <a:extLst>
              <a:ext uri="{FF2B5EF4-FFF2-40B4-BE49-F238E27FC236}">
                <a16:creationId xmlns:a16="http://schemas.microsoft.com/office/drawing/2014/main" id="{08A6F245-7400-365A-7D71-82C7EC22A032}"/>
              </a:ext>
            </a:extLst>
          </p:cNvPr>
          <p:cNvSpPr/>
          <p:nvPr/>
        </p:nvSpPr>
        <p:spPr>
          <a:xfrm>
            <a:off x="4419898" y="4078352"/>
            <a:ext cx="3396101" cy="84074"/>
          </a:xfrm>
          <a:prstGeom prst="downArrowCallout">
            <a:avLst>
              <a:gd name="adj1" fmla="val 2620"/>
              <a:gd name="adj2" fmla="val 94227"/>
              <a:gd name="adj3" fmla="val 72913"/>
              <a:gd name="adj4" fmla="val 12118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  <p:sp>
        <p:nvSpPr>
          <p:cNvPr id="12" name="Billedforklaring med nedadgående pil 11">
            <a:extLst>
              <a:ext uri="{FF2B5EF4-FFF2-40B4-BE49-F238E27FC236}">
                <a16:creationId xmlns:a16="http://schemas.microsoft.com/office/drawing/2014/main" id="{776D6C56-AC11-7BF5-DEFB-AD862ED0C046}"/>
              </a:ext>
            </a:extLst>
          </p:cNvPr>
          <p:cNvSpPr/>
          <p:nvPr/>
        </p:nvSpPr>
        <p:spPr>
          <a:xfrm>
            <a:off x="8102898" y="4078352"/>
            <a:ext cx="3396101" cy="84074"/>
          </a:xfrm>
          <a:prstGeom prst="downArrowCallout">
            <a:avLst>
              <a:gd name="adj1" fmla="val 2620"/>
              <a:gd name="adj2" fmla="val 94227"/>
              <a:gd name="adj3" fmla="val 72913"/>
              <a:gd name="adj4" fmla="val 12118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17552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ase: Tagbelægning skal udskiftes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41C91F2F-92AB-F139-6BAB-52E90D04E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8A56E91-1B1B-719D-CC84-72B7E978E0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7741D66F-8DFB-2257-AAC0-5C5B0F5E95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169174"/>
              </p:ext>
            </p:extLst>
          </p:nvPr>
        </p:nvGraphicFramePr>
        <p:xfrm>
          <a:off x="647999" y="1991041"/>
          <a:ext cx="10701190" cy="221013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435301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733800">
                  <a:extLst>
                    <a:ext uri="{9D8B030D-6E8A-4147-A177-3AD203B41FA5}">
                      <a16:colId xmlns:a16="http://schemas.microsoft.com/office/drawing/2014/main" val="1760534191"/>
                    </a:ext>
                  </a:extLst>
                </a:gridCol>
                <a:gridCol w="1532089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532598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Investering (isoleringsarbejde og materialer)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Vandret loftflade + dampspærre</a:t>
                      </a: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470 kr./m² x 30 m² </a:t>
                      </a:r>
                    </a:p>
                  </a:txBody>
                  <a:tcPr marL="107950" marR="14414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4.100 kr.</a:t>
                      </a: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Skråvægge mellem spær 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85 kr./m² x 60 m² </a:t>
                      </a:r>
                    </a:p>
                  </a:txBody>
                  <a:tcPr marL="107950" marR="14414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11.100 kr.</a:t>
                      </a: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23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Skråvægge ved </a:t>
                      </a:r>
                      <a:r>
                        <a:rPr lang="da-DK" sz="1600" kern="100" err="1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påforing</a:t>
                      </a: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 + dampspærre 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7175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1.350 kr./m² x 60 m² </a:t>
                      </a:r>
                    </a:p>
                  </a:txBody>
                  <a:tcPr marL="107950" marR="7175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81.000 kr.</a:t>
                      </a: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  <p:graphicFrame>
        <p:nvGraphicFramePr>
          <p:cNvPr id="13" name="Tabel 12">
            <a:extLst>
              <a:ext uri="{FF2B5EF4-FFF2-40B4-BE49-F238E27FC236}">
                <a16:creationId xmlns:a16="http://schemas.microsoft.com/office/drawing/2014/main" id="{D2F14C00-7395-9979-EB92-529E347B8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723403"/>
              </p:ext>
            </p:extLst>
          </p:nvPr>
        </p:nvGraphicFramePr>
        <p:xfrm>
          <a:off x="647999" y="4200841"/>
          <a:ext cx="10701190" cy="221013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435301">
                  <a:extLst>
                    <a:ext uri="{9D8B030D-6E8A-4147-A177-3AD203B41FA5}">
                      <a16:colId xmlns:a16="http://schemas.microsoft.com/office/drawing/2014/main" val="3486359525"/>
                    </a:ext>
                  </a:extLst>
                </a:gridCol>
                <a:gridCol w="3712341">
                  <a:extLst>
                    <a:ext uri="{9D8B030D-6E8A-4147-A177-3AD203B41FA5}">
                      <a16:colId xmlns:a16="http://schemas.microsoft.com/office/drawing/2014/main" val="1760534191"/>
                    </a:ext>
                  </a:extLst>
                </a:gridCol>
                <a:gridCol w="1553548">
                  <a:extLst>
                    <a:ext uri="{9D8B030D-6E8A-4147-A177-3AD203B41FA5}">
                      <a16:colId xmlns:a16="http://schemas.microsoft.com/office/drawing/2014/main" val="2393932197"/>
                    </a:ext>
                  </a:extLst>
                </a:gridCol>
              </a:tblGrid>
              <a:tr h="532598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Rentabilitet (levetiden x besparelse) / investering ≥ 1,33</a:t>
                      </a: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da-DK" sz="1600" kern="100">
                        <a:solidFill>
                          <a:schemeClr val="accent6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28606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Vandret loftflade</a:t>
                      </a: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40 år x  720 kr./år/14.100 kr. = 2,0</a:t>
                      </a:r>
                    </a:p>
                  </a:txBody>
                  <a:tcPr marL="107950" marR="14414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accent6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037441"/>
                  </a:ext>
                </a:extLst>
              </a:tr>
              <a:tr h="532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Skråvægge mellem spær 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14414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0 år x 2.640 kr./år/11.100 kr.= 9,5 </a:t>
                      </a:r>
                    </a:p>
                  </a:txBody>
                  <a:tcPr marL="107950" marR="14414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accent6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107950" marR="179705" marT="71755" marB="71755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751338"/>
                  </a:ext>
                </a:extLst>
              </a:tr>
              <a:tr h="6123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Skråvægge ved </a:t>
                      </a:r>
                      <a:r>
                        <a:rPr lang="da-DK" sz="1600" kern="100" err="1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påforing</a:t>
                      </a: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rebuchet MS" panose="020B0703020202090204" pitchFamily="34" charset="0"/>
                        </a:rPr>
                        <a:t> + dampspærre </a:t>
                      </a:r>
                      <a:endParaRPr lang="da-DK" sz="1600" kern="100">
                        <a:solidFill>
                          <a:srgbClr val="000000"/>
                        </a:solidFill>
                        <a:effectLst/>
                        <a:latin typeface="IBM Plex Sans" panose="020B0503050203000203" pitchFamily="34" charset="0"/>
                        <a:ea typeface="Aptos" panose="020B00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7950" marR="71755" marT="71755" marB="71755"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600" kern="100">
                          <a:solidFill>
                            <a:srgbClr val="000000"/>
                          </a:solidFill>
                          <a:effectLst/>
                          <a:latin typeface="IBM Plex Sans" panose="020B0503050203000203" pitchFamily="34" charset="0"/>
                          <a:ea typeface="Aptos" panose="020B0004020202020204" pitchFamily="34" charset="0"/>
                          <a:cs typeface="Times New Roman" panose="02020603050405020304" pitchFamily="18" charset="0"/>
                        </a:rPr>
                        <a:t>40 år x  840 kr./år/81.000 kr. =  0,4</a:t>
                      </a:r>
                    </a:p>
                  </a:txBody>
                  <a:tcPr marL="107950" marR="71755" marT="71755" marB="7175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da-DK" sz="1800" b="1" i="0" u="none" strike="noStrike" kern="1200">
                          <a:solidFill>
                            <a:schemeClr val="tx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❌</a:t>
                      </a:r>
                    </a:p>
                  </a:txBody>
                  <a:tcPr marL="107950" marR="179705" marT="71755" marB="7175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69F5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911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510295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rav til vinduer og døre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41C91F2F-92AB-F139-6BAB-52E90D04E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Udskiftnin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18A56E91-1B1B-719D-CC84-72B7E978E0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8" y="298289"/>
            <a:ext cx="271546" cy="250657"/>
          </a:xfrm>
          <a:prstGeom prst="rect">
            <a:avLst/>
          </a:prstGeom>
        </p:spPr>
      </p:pic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5649105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r>
              <a:rPr lang="da-DK" dirty="0"/>
              <a:t>Ved udskiftning af vinduer, glasydervægge, </a:t>
            </a:r>
            <a:r>
              <a:rPr lang="da-DK" dirty="0" err="1"/>
              <a:t>ovenlys-vinduer</a:t>
            </a:r>
            <a:r>
              <a:rPr lang="da-DK" dirty="0"/>
              <a:t> og glastage skal kravene i § 258 opfyldes</a:t>
            </a:r>
          </a:p>
          <a:p>
            <a:r>
              <a:rPr lang="da-DK" dirty="0"/>
              <a:t>Rudeudskiftning alene: Skal blot skiftes til samme standard som eksisterende</a:t>
            </a:r>
          </a:p>
          <a:p>
            <a:r>
              <a:rPr lang="da-DK" dirty="0"/>
              <a:t>Krav til vinduer i bilag 2 til kapitel 11, tabel 3</a:t>
            </a:r>
          </a:p>
          <a:p>
            <a:pPr lvl="1"/>
            <a:r>
              <a:rPr lang="da-DK" dirty="0" err="1"/>
              <a:t>Fortsatsvinduer</a:t>
            </a:r>
            <a:r>
              <a:rPr lang="da-DK" dirty="0"/>
              <a:t> og ovenlys: 1,4</a:t>
            </a:r>
          </a:p>
          <a:p>
            <a:pPr lvl="1"/>
            <a:r>
              <a:rPr lang="da-DK" dirty="0"/>
              <a:t>Renoverede </a:t>
            </a:r>
            <a:r>
              <a:rPr lang="da-DK" dirty="0" err="1"/>
              <a:t>fortsatsvinduer</a:t>
            </a:r>
            <a:r>
              <a:rPr lang="da-DK" dirty="0"/>
              <a:t>: 1,65</a:t>
            </a:r>
          </a:p>
          <a:p>
            <a:pPr lvl="1"/>
            <a:r>
              <a:rPr lang="da-DK" dirty="0"/>
              <a:t>Lystunneler: 2,0</a:t>
            </a:r>
          </a:p>
          <a:p>
            <a:endParaRPr lang="da-DK" dirty="0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85440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Sommerhuse: </a:t>
            </a:r>
            <a:br>
              <a:rPr lang="da-DK"/>
            </a:br>
            <a:r>
              <a:rPr lang="da-DK"/>
              <a:t>Nybyggeri og ombygning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A379C4CA-176B-25D9-832F-53BA0789F1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1288333"/>
            <a:ext cx="771067" cy="828609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CE572205-8470-6DAD-BA50-EC43971E2E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/>
              <a:t>Hvordan overholdes energikravene i BR18?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542717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Sommerhus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A50FA4-FBA4-A115-D9C9-4E272B154C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Sommerhuse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CED061A-D105-6ACE-1A08-DCB55663BC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/>
              <a:t>Uanset om du bygger et nyt sommerhus, en tilbygning til et sommerhus eller bygger om, stilles der krav til varmeisolering og til nye installationer </a:t>
            </a:r>
          </a:p>
          <a:p>
            <a:pPr marL="0" indent="0">
              <a:buNone/>
            </a:pPr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20F5A107-EEDD-9085-9D87-649824E93866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/>
              <a:t>Nyt sommerhus eller ny tilbygning</a:t>
            </a:r>
          </a:p>
          <a:p>
            <a:r>
              <a:rPr lang="da-DK" b="1"/>
              <a:t>Metode 1: </a:t>
            </a:r>
            <a:r>
              <a:rPr lang="da-DK"/>
              <a:t>Mindstekrav til loft, ydervæg, gulv, vinduer, yderdøre m.m.</a:t>
            </a:r>
          </a:p>
          <a:p>
            <a:r>
              <a:rPr lang="da-DK" b="1"/>
              <a:t>Metode 2: </a:t>
            </a:r>
            <a:r>
              <a:rPr lang="da-DK"/>
              <a:t>Varmetabsramme – giver fleksibilitet (OK fx at have ydervæg med højere U-værdi, blot man opfylder varmetabsrammen totalt)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9C7D71A-4FB2-D3FA-F003-C66A8D2A41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B3A22352-0E59-8CE3-CFD9-3247A10D3F3F}"/>
              </a:ext>
            </a:extLst>
          </p:cNvPr>
          <p:cNvPicPr>
            <a:picLocks noGrp="1" noChangeAspect="1" noChangeArrowheads="1"/>
          </p:cNvPicPr>
          <p:nvPr>
            <p:ph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7683" y="1944000"/>
            <a:ext cx="1706617" cy="394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357292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Fleksibilitet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149486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a-DK"/>
              <a:t>Massive ydervægge – af fx træ, letbeton eller teglblokke – med U-værdi op til 0,50 W/m²K kan dog anvendes – under forudsætning af, at varmetabsrammen overholdes, jf. i BR § 272 og BR18’s vejledning om energiforbrug pkt. 3.1.</a:t>
            </a:r>
          </a:p>
          <a:p>
            <a:pPr marL="0" indent="0">
              <a:buNone/>
            </a:pPr>
            <a:endParaRPr lang="da-DK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Sommerhuse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9F8E9C80-4AC3-D49E-9EBC-8DC84E5B94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81961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Ombygninger, forandringer og udskiftninger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8000" y="1944000"/>
            <a:ext cx="5149486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a-DK"/>
              <a:t>Der skal energiforbedres, hvis det er økonomisk rentabelt</a:t>
            </a:r>
          </a:p>
          <a:p>
            <a:pPr>
              <a:lnSpc>
                <a:spcPct val="110000"/>
              </a:lnSpc>
            </a:pPr>
            <a:r>
              <a:rPr lang="da-DK"/>
              <a:t>Ved beregning af rentabilitet betragtes sommerhuset som et helårshus</a:t>
            </a:r>
          </a:p>
          <a:p>
            <a:pPr>
              <a:lnSpc>
                <a:spcPct val="110000"/>
              </a:lnSpc>
            </a:pPr>
            <a:r>
              <a:rPr lang="da-DK"/>
              <a:t>Hvis det er rentabelt skal man opfylde krav til U-værdier og linjetab, der følger af bilag 2, tabel 4 – se næste slide</a:t>
            </a:r>
          </a:p>
          <a:p>
            <a:pPr marL="0" indent="0">
              <a:lnSpc>
                <a:spcPct val="110000"/>
              </a:lnSpc>
              <a:buNone/>
            </a:pPr>
            <a:endParaRPr lang="da-DK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Sommerhuse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9F8E9C80-4AC3-D49E-9EBC-8DC84E5B94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81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E301A5C-069D-AFC6-D552-8F7BBBDE73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1292866"/>
          </a:xfrm>
        </p:spPr>
        <p:txBody>
          <a:bodyPr/>
          <a:lstStyle/>
          <a:p>
            <a:r>
              <a:rPr lang="en-US" err="1"/>
              <a:t>Tænk</a:t>
            </a:r>
            <a:r>
              <a:rPr lang="en-US"/>
              <a:t> </a:t>
            </a:r>
            <a:r>
              <a:rPr lang="en-US" err="1"/>
              <a:t>altid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energi</a:t>
            </a:r>
            <a:r>
              <a:rPr lang="en-US"/>
              <a:t>…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C84EA95-A6F4-BA66-674A-A234A779B2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286000" cy="4266000"/>
          </a:xfrm>
        </p:spPr>
        <p:txBody>
          <a:bodyPr>
            <a:normAutofit/>
          </a:bodyPr>
          <a:lstStyle/>
          <a:p>
            <a:r>
              <a:rPr lang="da-DK"/>
              <a:t>Energikravene vedrører også eksisterende bygninger ved ombygning og andre forandringer, herunder udskiftninger </a:t>
            </a:r>
            <a:br>
              <a:rPr lang="da-DK"/>
            </a:br>
            <a:r>
              <a:rPr lang="da-DK"/>
              <a:t>(fremgår af BR18, kapitel 1, § 2)</a:t>
            </a:r>
          </a:p>
          <a:p>
            <a:endParaRPr lang="da-DK"/>
          </a:p>
          <a:p>
            <a:r>
              <a:rPr lang="da-DK"/>
              <a:t>Eneste undtagelse er reparationer (malerarbejde o.l.)</a:t>
            </a: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BC96EA39-210F-5226-8EA2-59731082735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914" y="1944000"/>
            <a:ext cx="5286000" cy="426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4554471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Mindstekrav til klimaskærm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ADBD750-71F9-BB39-4FBA-6F61EFF2B3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279" y="1943998"/>
            <a:ext cx="10370373" cy="3942001"/>
          </a:xfrm>
          <a:prstGeom prst="rect">
            <a:avLst/>
          </a:prstGeom>
        </p:spPr>
      </p:pic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64F0CE51-7A6C-CCED-2ACC-1769EECF69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Sommerhuse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1FAAE1DC-5EEE-D6B8-2EBE-149B3A36EF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999" y="285129"/>
            <a:ext cx="255215" cy="251671"/>
          </a:xfrm>
          <a:prstGeom prst="rect">
            <a:avLst/>
          </a:prstGeom>
        </p:spPr>
      </p:pic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57E7B65D-0C43-DCCD-E032-8C9592C99663}"/>
              </a:ext>
            </a:extLst>
          </p:cNvPr>
          <p:cNvSpPr txBox="1">
            <a:spLocks/>
          </p:cNvSpPr>
          <p:nvPr/>
        </p:nvSpPr>
        <p:spPr>
          <a:xfrm>
            <a:off x="676279" y="6056379"/>
            <a:ext cx="7949246" cy="4636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>
                <a:solidFill>
                  <a:schemeClr val="tx1"/>
                </a:solidFill>
              </a:rPr>
              <a:t>Forudsat samlet areal af vinduer og yderdøre, der højst udgør 30 pct. af det opvarmede etageareal 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8B12E319-615B-5261-154B-7A068D5789EF}"/>
              </a:ext>
            </a:extLst>
          </p:cNvPr>
          <p:cNvSpPr txBox="1">
            <a:spLocks/>
          </p:cNvSpPr>
          <p:nvPr/>
        </p:nvSpPr>
        <p:spPr bwMode="auto">
          <a:xfrm>
            <a:off x="9150855" y="4510129"/>
            <a:ext cx="1793664" cy="2009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a-DK" sz="1200" b="1">
                <a:solidFill>
                  <a:schemeClr val="tx1"/>
                </a:solidFill>
                <a:latin typeface="IBM Plex Sans" panose="020B0503050203000203" pitchFamily="34" charset="0"/>
              </a:rPr>
              <a:t>Varmetabsramme</a:t>
            </a:r>
            <a:br>
              <a:rPr lang="da-DK" sz="1200" b="1">
                <a:solidFill>
                  <a:schemeClr val="tx1"/>
                </a:solidFill>
                <a:latin typeface="IBM Plex Sans" panose="020B0503050203000203" pitchFamily="34" charset="0"/>
              </a:rPr>
            </a:br>
            <a:r>
              <a:rPr lang="da-DK" sz="1200">
                <a:solidFill>
                  <a:schemeClr val="tx1"/>
                </a:solidFill>
                <a:latin typeface="IBM Plex Sans" panose="020B0503050203000203" pitchFamily="34" charset="0"/>
              </a:rPr>
              <a:t>Værdierne kan fraviges, såfremt det samlede varmetab ikke derved bliver større</a:t>
            </a:r>
          </a:p>
        </p:txBody>
      </p:sp>
    </p:spTree>
    <p:extLst>
      <p:ext uri="{BB962C8B-B14F-4D97-AF65-F5344CB8AC3E}">
        <p14:creationId xmlns:p14="http://schemas.microsoft.com/office/powerpoint/2010/main" val="128809791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Ventilation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E50C4223-90D8-989A-B526-257A5DF389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700" y="3962400"/>
            <a:ext cx="8593138" cy="1915886"/>
          </a:xfrm>
        </p:spPr>
        <p:txBody>
          <a:bodyPr/>
          <a:lstStyle/>
          <a:p>
            <a:r>
              <a:rPr lang="da-DK"/>
              <a:t>Hvordan overholdes energikravene i BR18?</a:t>
            </a:r>
          </a:p>
          <a:p>
            <a:r>
              <a:rPr lang="da-DK"/>
              <a:t>Både ved ændret anvendelse, ombygning og andre forandringer i eksisterende bebyggelser</a:t>
            </a:r>
          </a:p>
          <a:p>
            <a:r>
              <a:rPr lang="da-DK"/>
              <a:t>Kapitel 22 i BR18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16165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entilationskrav ved nybyggeri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5573691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a-DK"/>
              <a:t>Ventilationsanlæg m. indblæsning og udsugning skal opfylde krav til varme-genvinding i EU-forordning nr. 1253/2014 </a:t>
            </a:r>
          </a:p>
          <a:p>
            <a:pPr>
              <a:lnSpc>
                <a:spcPct val="110000"/>
              </a:lnSpc>
            </a:pPr>
            <a:r>
              <a:rPr lang="da-DK"/>
              <a:t>Svarer til en 73 pct. tør temperatur-virkningsgrad for alle varmegenvindings-systemer på nær væskekoblede batterier, hvor kravet er 68 pct.</a:t>
            </a:r>
          </a:p>
          <a:p>
            <a:pPr>
              <a:lnSpc>
                <a:spcPct val="110000"/>
              </a:lnSpc>
            </a:pPr>
            <a:r>
              <a:rPr lang="da-DK"/>
              <a:t>DK har strammere krav til ventilationsanlæg med indblæsning og udsugning, hvor aggregat og kanalsystem kun betjener én bolig:</a:t>
            </a:r>
          </a:p>
          <a:p>
            <a:pPr lvl="1">
              <a:lnSpc>
                <a:spcPct val="110000"/>
              </a:lnSpc>
            </a:pPr>
            <a:r>
              <a:rPr lang="da-DK"/>
              <a:t>Her er der krav om varmegenvinding med en tør temperaturvirkningsgrad på mindst 80 pct.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Ventilation</a:t>
            </a:r>
          </a:p>
        </p:txBody>
      </p:sp>
    </p:spTree>
    <p:extLst>
      <p:ext uri="{BB962C8B-B14F-4D97-AF65-F5344CB8AC3E}">
        <p14:creationId xmlns:p14="http://schemas.microsoft.com/office/powerpoint/2010/main" val="3293968899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entilationskrav ved nybyggeri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5573691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a-DK"/>
              <a:t>Ventilationsanlæg skal udføres med varmegenvinding, der forvarmer indblæsningsluften</a:t>
            </a:r>
          </a:p>
          <a:p>
            <a:pPr>
              <a:lnSpc>
                <a:spcPct val="110000"/>
              </a:lnSpc>
            </a:pPr>
            <a:r>
              <a:rPr lang="da-DK"/>
              <a:t>Om sommeren: Indblæsning kan erstattes af </a:t>
            </a:r>
            <a:r>
              <a:rPr lang="da-DK" err="1"/>
              <a:t>udeluft</a:t>
            </a:r>
            <a:r>
              <a:rPr lang="da-DK"/>
              <a:t>-tilførsel gennem vinduer – for beboelsesejendomme </a:t>
            </a:r>
            <a:br>
              <a:rPr lang="da-DK"/>
            </a:br>
            <a:r>
              <a:rPr lang="da-DK"/>
              <a:t>(udsugning må ikke stoppes, kun indblæsning)</a:t>
            </a:r>
          </a:p>
          <a:p>
            <a:pPr>
              <a:lnSpc>
                <a:spcPct val="110000"/>
              </a:lnSpc>
            </a:pPr>
            <a:r>
              <a:rPr lang="da-DK"/>
              <a:t>Naturlig ventilation stadig muligt i enfamiliehuse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Ventilation</a:t>
            </a:r>
          </a:p>
        </p:txBody>
      </p:sp>
    </p:spTree>
    <p:extLst>
      <p:ext uri="{BB962C8B-B14F-4D97-AF65-F5344CB8AC3E}">
        <p14:creationId xmlns:p14="http://schemas.microsoft.com/office/powerpoint/2010/main" val="876470829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Ventilationskrav ved eksisterende byggeri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8576683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da-DK" b="1"/>
              <a:t>PRÆCISERINGER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da-DK"/>
              <a:t>Ved ombygning må man ikke forringe ventilationen</a:t>
            </a:r>
          </a:p>
          <a:p>
            <a:pPr>
              <a:lnSpc>
                <a:spcPct val="110000"/>
              </a:lnSpc>
            </a:pPr>
            <a:r>
              <a:rPr lang="da-DK"/>
              <a:t>Fx må man ikke ændre en afkastkanal på et badeværelse, ved at isætte en ventilator, der helt lukker for ventilationen når den ikke er i drift</a:t>
            </a:r>
          </a:p>
          <a:p>
            <a:pPr>
              <a:lnSpc>
                <a:spcPct val="110000"/>
              </a:lnSpc>
            </a:pPr>
            <a:r>
              <a:rPr lang="da-DK"/>
              <a:t>Ved isætning af nye vinduer skal man sikre sig, at ventilationen ikke forringes. Fx ved at isætte nye </a:t>
            </a:r>
            <a:r>
              <a:rPr lang="da-DK" err="1"/>
              <a:t>udeluftventiler</a:t>
            </a:r>
            <a:endParaRPr lang="da-DK"/>
          </a:p>
          <a:p>
            <a:pPr>
              <a:lnSpc>
                <a:spcPct val="110000"/>
              </a:lnSpc>
            </a:pPr>
            <a:r>
              <a:rPr lang="da-DK"/>
              <a:t>Et nyt ventilationsanlæg i eksisterende byggeri skal leve op til krav som for nybyggeri (se slide 110 og 111)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Ventilation</a:t>
            </a:r>
          </a:p>
        </p:txBody>
      </p:sp>
    </p:spTree>
    <p:extLst>
      <p:ext uri="{BB962C8B-B14F-4D97-AF65-F5344CB8AC3E}">
        <p14:creationId xmlns:p14="http://schemas.microsoft.com/office/powerpoint/2010/main" val="113467170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Varmeinstallationer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E50C4223-90D8-989A-B526-257A5DF389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700" y="3962400"/>
            <a:ext cx="8593138" cy="1047583"/>
          </a:xfrm>
        </p:spPr>
        <p:txBody>
          <a:bodyPr/>
          <a:lstStyle/>
          <a:p>
            <a:r>
              <a:rPr lang="da-DK"/>
              <a:t>Hvordan overholdes energikravene i BR18?</a:t>
            </a:r>
          </a:p>
          <a:p>
            <a:r>
              <a:rPr lang="da-DK"/>
              <a:t>Kapitel 11 og 19 i BR18</a:t>
            </a:r>
          </a:p>
          <a:p>
            <a:endParaRPr lang="da-DK"/>
          </a:p>
          <a:p>
            <a:endParaRPr lang="da-DK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09975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B5B76F-6772-D00C-0ED5-4ADAA5D9A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Bygningsopvarmn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C79193C-FD58-B3FC-3D20-90EA70BF32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/>
              <a:t>§ 293</a:t>
            </a:r>
            <a:br>
              <a:rPr lang="da-DK" b="1"/>
            </a:br>
            <a:r>
              <a:rPr lang="da-DK"/>
              <a:t>Bygningsopvarmning skal baseres på vedvarende energi </a:t>
            </a:r>
          </a:p>
          <a:p>
            <a:pPr marL="0" indent="0">
              <a:buNone/>
            </a:pPr>
            <a:r>
              <a:rPr lang="da-DK" b="1"/>
              <a:t>§ 294</a:t>
            </a:r>
            <a:br>
              <a:rPr lang="da-DK" b="1"/>
            </a:br>
            <a:r>
              <a:rPr lang="da-DK"/>
              <a:t>I bygninger beliggende i områder, hvor tilslutning til fjernvarmenet er mulig, kan </a:t>
            </a:r>
            <a:r>
              <a:rPr lang="da-DK">
                <a:highlight>
                  <a:srgbClr val="FFFF00"/>
                </a:highlight>
              </a:rPr>
              <a:t>bygningsopvarmning baseres på fjernvarme</a:t>
            </a:r>
            <a:r>
              <a:rPr lang="da-DK"/>
              <a:t> uanset § 293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6E91EB4-18F0-D9C8-6086-F3ECFBF47716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/>
              <a:t>§ 295</a:t>
            </a:r>
            <a:br>
              <a:rPr lang="da-DK" b="1"/>
            </a:br>
            <a:r>
              <a:rPr lang="da-DK">
                <a:highlight>
                  <a:srgbClr val="FFFF00"/>
                </a:highlight>
              </a:rPr>
              <a:t>I bygninger beliggende i områder, hvor der er etableret naturgasnet, eller hvor der foreligger en projektgodkendelse </a:t>
            </a:r>
            <a:r>
              <a:rPr lang="da-DK"/>
              <a:t>udarbejdet inden 1. januar 2013 om individuel naturgasforsyning af området iht. varmeforsyningsloven, </a:t>
            </a:r>
            <a:r>
              <a:rPr lang="da-DK">
                <a:highlight>
                  <a:srgbClr val="FFFF00"/>
                </a:highlight>
              </a:rPr>
              <a:t>kan bygningsopvarmningen baseres på naturgas</a:t>
            </a:r>
            <a:r>
              <a:rPr lang="da-DK"/>
              <a:t> uanset § 293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89A3A166-B5AB-4125-0AA3-EB7FEB3B8EC7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sz="1600" b="1"/>
              <a:t>§ 296</a:t>
            </a:r>
            <a:br>
              <a:rPr lang="da-DK" sz="1600" b="1"/>
            </a:br>
            <a:r>
              <a:rPr lang="da-DK" sz="1600">
                <a:highlight>
                  <a:srgbClr val="FFFF00"/>
                </a:highlight>
              </a:rPr>
              <a:t>Eksisterende bygninger </a:t>
            </a:r>
            <a:r>
              <a:rPr lang="da-DK" sz="1600"/>
              <a:t>beliggende i områder, hvor tilslutning til fjernvarmenet ikke er mulig, eller hvor der ikke er etableret </a:t>
            </a:r>
            <a:r>
              <a:rPr lang="da-DK" sz="1600" err="1"/>
              <a:t>naturgas-net</a:t>
            </a:r>
            <a:r>
              <a:rPr lang="da-DK" sz="1600"/>
              <a:t> eller truffet beslutning herom i henhold til varmeforsyningsloven inden 1. januar 2013, jf. § 295, </a:t>
            </a:r>
            <a:r>
              <a:rPr lang="da-DK" sz="1600">
                <a:highlight>
                  <a:srgbClr val="FFFF00"/>
                </a:highlight>
              </a:rPr>
              <a:t>er ikke omfattet af § 293</a:t>
            </a:r>
            <a:r>
              <a:rPr lang="da-DK" sz="1600"/>
              <a:t>.</a:t>
            </a:r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721269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Øvrigt</a:t>
            </a:r>
          </a:p>
        </p:txBody>
      </p:sp>
      <p:sp>
        <p:nvSpPr>
          <p:cNvPr id="3" name="Pladsholder til indhold 3">
            <a:extLst>
              <a:ext uri="{FF2B5EF4-FFF2-40B4-BE49-F238E27FC236}">
                <a16:creationId xmlns:a16="http://schemas.microsoft.com/office/drawing/2014/main" id="{E0DC2F22-4406-4E57-E0E1-CB590AC88EA1}"/>
              </a:ext>
            </a:extLst>
          </p:cNvPr>
          <p:cNvSpPr txBox="1">
            <a:spLocks/>
          </p:cNvSpPr>
          <p:nvPr/>
        </p:nvSpPr>
        <p:spPr>
          <a:xfrm>
            <a:off x="647999" y="1944000"/>
            <a:ext cx="5573691" cy="4476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da-DK"/>
              <a:t>Alt i installationen skal isoleres – også ved renovering inkl. ventilationsanlæg, </a:t>
            </a:r>
            <a:r>
              <a:rPr lang="da-DK" err="1"/>
              <a:t>fordelerrør</a:t>
            </a:r>
            <a:r>
              <a:rPr lang="da-DK"/>
              <a:t>, </a:t>
            </a:r>
            <a:r>
              <a:rPr lang="da-DK" err="1"/>
              <a:t>shunte</a:t>
            </a:r>
            <a:r>
              <a:rPr lang="da-DK"/>
              <a:t>, fjernvarmeunits mv. </a:t>
            </a:r>
          </a:p>
          <a:p>
            <a:pPr lvl="1">
              <a:lnSpc>
                <a:spcPct val="110000"/>
              </a:lnSpc>
            </a:pPr>
            <a:r>
              <a:rPr lang="da-DK"/>
              <a:t>(DS 452, Termisk isolering af tekniske installationer)</a:t>
            </a:r>
          </a:p>
          <a:p>
            <a:pPr>
              <a:lnSpc>
                <a:spcPct val="110000"/>
              </a:lnSpc>
            </a:pPr>
            <a:r>
              <a:rPr lang="da-DK"/>
              <a:t>Køl: Der gælder tilsvarende krav til køling som til varme (dimensionering, styring, udførelse og drift: DS 469, Varme og køleanlæg i bygninger) </a:t>
            </a:r>
          </a:p>
          <a:p>
            <a:pPr>
              <a:lnSpc>
                <a:spcPct val="110000"/>
              </a:lnSpc>
            </a:pPr>
            <a:r>
              <a:rPr lang="da-DK"/>
              <a:t>Der er krav om individuel regulering af rumtemperatur i nybyggeri</a:t>
            </a:r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999" y="648000"/>
            <a:ext cx="8576683" cy="324000"/>
          </a:xfrm>
        </p:spPr>
        <p:txBody>
          <a:bodyPr/>
          <a:lstStyle/>
          <a:p>
            <a:r>
              <a:rPr lang="da-DK"/>
              <a:t>varmeinstallationer</a:t>
            </a:r>
          </a:p>
        </p:txBody>
      </p:sp>
    </p:spTree>
    <p:extLst>
      <p:ext uri="{BB962C8B-B14F-4D97-AF65-F5344CB8AC3E}">
        <p14:creationId xmlns:p14="http://schemas.microsoft.com/office/powerpoint/2010/main" val="2128382099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0E74A-D9FF-7F79-99E9-8A5E1D5398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a-DK"/>
              <a:t>Funktionsafprøvning af tekniske anlæg 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E50C4223-90D8-989A-B526-257A5DF389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7700" y="3962400"/>
            <a:ext cx="8593138" cy="1047583"/>
          </a:xfrm>
        </p:spPr>
        <p:txBody>
          <a:bodyPr/>
          <a:lstStyle/>
          <a:p>
            <a:r>
              <a:rPr lang="da-DK"/>
              <a:t>Nyt lovkrav i BR siden 1/7-17</a:t>
            </a:r>
          </a:p>
          <a:p>
            <a:endParaRPr lang="da-DK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4345656-D7DE-F7E6-7726-0F9864C0B3BD}"/>
              </a:ext>
            </a:extLst>
          </p:cNvPr>
          <p:cNvSpPr txBox="1"/>
          <p:nvPr/>
        </p:nvSpPr>
        <p:spPr>
          <a:xfrm>
            <a:off x="12765741" y="3962400"/>
            <a:ext cx="65" cy="3432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endParaRPr lang="da-DK" sz="2000">
              <a:solidFill>
                <a:schemeClr val="tx2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46484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B383AB-6BF8-D115-5D88-E7CEE900A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647700"/>
            <a:ext cx="10895014" cy="662626"/>
          </a:xfrm>
        </p:spPr>
        <p:txBody>
          <a:bodyPr/>
          <a:lstStyle/>
          <a:p>
            <a:r>
              <a:rPr lang="da-DK"/>
              <a:t>Funktionsafprøvning</a:t>
            </a:r>
            <a:br>
              <a:rPr lang="da-DK"/>
            </a:br>
            <a:endParaRPr lang="da-DK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55A2F87-9769-73EC-6AB0-192385621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000" y="1944000"/>
            <a:ext cx="5583118" cy="4266000"/>
          </a:xfrm>
        </p:spPr>
        <p:txBody>
          <a:bodyPr/>
          <a:lstStyle/>
          <a:p>
            <a:r>
              <a:rPr lang="da-DK"/>
              <a:t>Mange bygninger har et højere energiforbrug end det beregnede, når de tages i brug </a:t>
            </a:r>
          </a:p>
          <a:p>
            <a:r>
              <a:rPr lang="da-DK"/>
              <a:t>Nybyggerier og større renoveringer afleveres ofte med alvorlige fejl i de tekniske installationer</a:t>
            </a:r>
          </a:p>
          <a:p>
            <a:r>
              <a:rPr lang="da-DK"/>
              <a:t>Når først byggeriet er taget i brug, er det svært finde årsagen til et overforbrug: Adfærd eller installationer? </a:t>
            </a:r>
          </a:p>
          <a:p>
            <a:r>
              <a:rPr lang="da-DK"/>
              <a:t>Mulighed for at spare ressourcer efter aflevering</a:t>
            </a:r>
          </a:p>
          <a:p>
            <a:r>
              <a:rPr lang="da-DK"/>
              <a:t>Sikre, at parterne ikke skal bruge tid og penge på kostbar efterregulering</a:t>
            </a:r>
          </a:p>
          <a:p>
            <a:pPr marL="0" indent="0">
              <a:buNone/>
            </a:pPr>
            <a:endParaRPr lang="da-DK"/>
          </a:p>
        </p:txBody>
      </p:sp>
      <p:pic>
        <p:nvPicPr>
          <p:cNvPr id="4" name="Pladsholder til billede 6">
            <a:extLst>
              <a:ext uri="{FF2B5EF4-FFF2-40B4-BE49-F238E27FC236}">
                <a16:creationId xmlns:a16="http://schemas.microsoft.com/office/drawing/2014/main" id="{DDA67605-D585-A5EE-B2D6-A1553B4F0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579" y="1944001"/>
            <a:ext cx="4624552" cy="4120468"/>
          </a:xfrm>
          <a:prstGeom prst="rect">
            <a:avLst/>
          </a:prstGeom>
        </p:spPr>
      </p:pic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483EA92F-7CB3-AADA-305B-BE72F63E4C26}"/>
              </a:ext>
            </a:extLst>
          </p:cNvPr>
          <p:cNvSpPr txBox="1">
            <a:spLocks/>
          </p:cNvSpPr>
          <p:nvPr/>
        </p:nvSpPr>
        <p:spPr>
          <a:xfrm>
            <a:off x="648000" y="1453806"/>
            <a:ext cx="5583118" cy="3090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IBM Plex Sans" panose="020B0503050203000203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/>
              <a:t>TEKNISKE INSTALLATIONER</a:t>
            </a:r>
          </a:p>
        </p:txBody>
      </p:sp>
    </p:spTree>
    <p:extLst>
      <p:ext uri="{BB962C8B-B14F-4D97-AF65-F5344CB8AC3E}">
        <p14:creationId xmlns:p14="http://schemas.microsoft.com/office/powerpoint/2010/main" val="3138123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Novo Nordisk 16:9">
  <a:themeElements>
    <a:clrScheme name="VEB">
      <a:dk1>
        <a:srgbClr val="1D263F"/>
      </a:dk1>
      <a:lt1>
        <a:srgbClr val="FFFFFF"/>
      </a:lt1>
      <a:dk2>
        <a:srgbClr val="1D263F"/>
      </a:dk2>
      <a:lt2>
        <a:srgbClr val="E6EBF1"/>
      </a:lt2>
      <a:accent1>
        <a:srgbClr val="0F4F99"/>
      </a:accent1>
      <a:accent2>
        <a:srgbClr val="F99F54"/>
      </a:accent2>
      <a:accent3>
        <a:srgbClr val="97D982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Novo Nordisk template 2023.pptx" id="{A4B325A4-D7E1-4A28-875F-ABE97A165AA8}" vid="{65125BF6-BC4A-4759-A16E-02C6E997CB83}"/>
    </a:ext>
  </a:extLst>
</a:theme>
</file>

<file path=ppt/theme/theme2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TemplafyTemplateConfiguration><![CDATA[{"elementsMetadata":[],"transformationConfigurations":[],"templateName":"Novo Nordisk template 2023","templateDescription":"Create a new presentation","enableDocumentContentUpdater":true,"version":"1.1"}]]></TemplafyTemplate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7e246f5-a181-4ddd-bcfa-8f2bd33c0c9c">
      <UserInfo>
        <DisplayName>Line Nørmark (Transition)</DisplayName>
        <AccountId>5100</AccountId>
        <AccountType/>
      </UserInfo>
    </SharedWithUsers>
    <TaxCatchAll xmlns="57e246f5-a181-4ddd-bcfa-8f2bd33c0c9c" xsi:nil="true"/>
    <_ip_UnifiedCompliancePolicyUIAction xmlns="http://schemas.microsoft.com/sharepoint/v3" xsi:nil="true"/>
    <lcf76f155ced4ddcb4097134ff3c332f xmlns="b1cfadd8-d294-4d34-bc36-10edd03a80b3">
      <Terms xmlns="http://schemas.microsoft.com/office/infopath/2007/PartnerControls"/>
    </lcf76f155ced4ddcb4097134ff3c332f>
    <Test xmlns="b1cfadd8-d294-4d34-bc36-10edd03a80b3">
      <UserInfo>
        <DisplayName/>
        <AccountId xsi:nil="true"/>
        <AccountType/>
      </UserInfo>
    </Test>
    <Filtype xmlns="b1cfadd8-d294-4d34-bc36-10edd03a80b3" xsi:nil="true"/>
    <_ip_UnifiedCompliancePolicyProperties xmlns="http://schemas.microsoft.com/sharepoint/v3" xsi:nil="true"/>
  </documentManagement>
</p:properties>
</file>

<file path=customXml/item4.xml><?xml version="1.0" encoding="utf-8"?>
<TemplafyFormConfiguration><![CDATA[{"formFields":[{"dataSource":"P - Logo Choice","displayColumn":"logoUI","hideIfNoUserInteractionRequired":false,"distinct":true,"required":false,"autoSelectFirstOption":false,"helpTexts":{"prefix":"","postfix":""},"spacing":{},"type":"dropDown","name":"PLogoChoice","label":"Choose template version","fullyQualifiedName":"PLogoChoice"}],"formDataEntries":[]}]]></TemplafyFormConfiguratio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DF22F492AE8914D8B73C3E3C23F308D" ma:contentTypeVersion="31" ma:contentTypeDescription="Opret et nyt dokument." ma:contentTypeScope="" ma:versionID="1028beaa144d05e948369b987caf50e3">
  <xsd:schema xmlns:xsd="http://www.w3.org/2001/XMLSchema" xmlns:xs="http://www.w3.org/2001/XMLSchema" xmlns:p="http://schemas.microsoft.com/office/2006/metadata/properties" xmlns:ns1="http://schemas.microsoft.com/sharepoint/v3" xmlns:ns2="b1cfadd8-d294-4d34-bc36-10edd03a80b3" xmlns:ns3="57e246f5-a181-4ddd-bcfa-8f2bd33c0c9c" targetNamespace="http://schemas.microsoft.com/office/2006/metadata/properties" ma:root="true" ma:fieldsID="9e062dd460a46b14fcff5ecb85d09ee7" ns1:_="" ns2:_="" ns3:_="">
    <xsd:import namespace="http://schemas.microsoft.com/sharepoint/v3"/>
    <xsd:import namespace="b1cfadd8-d294-4d34-bc36-10edd03a80b3"/>
    <xsd:import namespace="57e246f5-a181-4ddd-bcfa-8f2bd33c0c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Filtype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Tes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Egenskaber for Unified Compliance Policy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Handling for Unified Compliance Policy-grænseflad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cfadd8-d294-4d34-bc36-10edd03a80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description="" ma:indexed="true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Filtype" ma:index="17" nillable="true" ma:displayName="Filtype" ma:format="Dropdown" ma:indexed="true" ma:internalName="Filtype">
      <xsd:simpleType>
        <xsd:restriction base="dms:Text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Billedmærker" ma:readOnly="false" ma:fieldId="{5cf76f15-5ced-4ddc-b409-7134ff3c332f}" ma:taxonomyMulti="true" ma:sspId="fcff2bff-98dc-460d-973e-03f7511429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Test" ma:index="28" nillable="true" ma:displayName="Test" ma:format="Dropdown" ma:list="UserInfo" ma:SharePointGroup="0" ma:internalName="Tes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e246f5-a181-4ddd-bcfa-8f2bd33c0c9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4651abdf-1673-48e2-821d-f5cd0b68c3fe}" ma:internalName="TaxCatchAll" ma:showField="CatchAllData" ma:web="57e246f5-a181-4ddd-bcfa-8f2bd33c0c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F6E6FF-A500-45E5-BC31-0E5BF6EC43E4}">
  <ds:schemaRefs/>
</ds:datastoreItem>
</file>

<file path=customXml/itemProps2.xml><?xml version="1.0" encoding="utf-8"?>
<ds:datastoreItem xmlns:ds="http://schemas.openxmlformats.org/officeDocument/2006/customXml" ds:itemID="{9F63814F-CA98-48E4-B05C-99A8F4312AF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E49DCAD-7645-4138-BE0C-370C6133F388}">
  <ds:schemaRefs>
    <ds:schemaRef ds:uri="http://purl.org/dc/terms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sharepoint/v3"/>
    <ds:schemaRef ds:uri="57e246f5-a181-4ddd-bcfa-8f2bd33c0c9c"/>
    <ds:schemaRef ds:uri="b1cfadd8-d294-4d34-bc36-10edd03a80b3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0EAE732B-3A91-411A-8C1A-6FA9E5457B7E}">
  <ds:schemaRefs/>
</ds:datastoreItem>
</file>

<file path=customXml/itemProps5.xml><?xml version="1.0" encoding="utf-8"?>
<ds:datastoreItem xmlns:ds="http://schemas.openxmlformats.org/officeDocument/2006/customXml" ds:itemID="{15C6EB2C-9BCB-4EB7-B998-A0258E74353B}">
  <ds:schemaRefs>
    <ds:schemaRef ds:uri="57e246f5-a181-4ddd-bcfa-8f2bd33c0c9c"/>
    <ds:schemaRef ds:uri="b1cfadd8-d294-4d34-bc36-10edd03a80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1b8f2ce-0142-4f44-a9c4-740ebcc2b4c9}" enabled="1" method="Standard" siteId="{4b275c45-50e2-4a26-8792-73ca62c33bc5}" contentBits="0" removed="0"/>
  <clbl:label id="{fdfed7bd-9f6a-44a1-b694-6e39c468c150}" enabled="0" method="" siteId="{fdfed7bd-9f6a-44a1-b694-6e39c468c15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4605</Words>
  <Application>Microsoft Macintosh PowerPoint</Application>
  <PresentationFormat>Widescreen</PresentationFormat>
  <Paragraphs>745</Paragraphs>
  <Slides>109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09</vt:i4>
      </vt:variant>
    </vt:vector>
  </HeadingPairs>
  <TitlesOfParts>
    <vt:vector size="116" baseType="lpstr">
      <vt:lpstr>Apis For Office Light</vt:lpstr>
      <vt:lpstr>Arial</vt:lpstr>
      <vt:lpstr>IBM Plex Sans</vt:lpstr>
      <vt:lpstr>IBM Plex Sans SemiBold</vt:lpstr>
      <vt:lpstr>Trebuchet MS</vt:lpstr>
      <vt:lpstr>Novo Nordisk 16:9</vt:lpstr>
      <vt:lpstr>think-cell Slide</vt:lpstr>
      <vt:lpstr>Energikravene i Bygningsreglementet 2018</vt:lpstr>
      <vt:lpstr>Om Byggeri og Energi</vt:lpstr>
      <vt:lpstr>Indhold</vt:lpstr>
      <vt:lpstr>Oversigt: Energikravene</vt:lpstr>
      <vt:lpstr>PowerPoint-præsentation</vt:lpstr>
      <vt:lpstr>Mindstekrav</vt:lpstr>
      <vt:lpstr>Definitioner</vt:lpstr>
      <vt:lpstr>Definitioner</vt:lpstr>
      <vt:lpstr>Tænk altid i energi…</vt:lpstr>
      <vt:lpstr>…og tænk altid i indeklima</vt:lpstr>
      <vt:lpstr>Husk altid fugten</vt:lpstr>
      <vt:lpstr>Husk altid fugten</vt:lpstr>
      <vt:lpstr>Nybyggeri</vt:lpstr>
      <vt:lpstr>Nybyggeri</vt:lpstr>
      <vt:lpstr>Sammenhængen mellem kravene</vt:lpstr>
      <vt:lpstr>PowerPoint-præsentation</vt:lpstr>
      <vt:lpstr>Hvad er energirammen?</vt:lpstr>
      <vt:lpstr>PowerPoint-præsentation</vt:lpstr>
      <vt:lpstr>Vedvarende energi i energirammen</vt:lpstr>
      <vt:lpstr>Minimumskrav i energiramme</vt:lpstr>
      <vt:lpstr>Energirammeberegning – hvordan gør man?</vt:lpstr>
      <vt:lpstr>Skærpede krav til transmissionstab</vt:lpstr>
      <vt:lpstr>PowerPoint-præsentation</vt:lpstr>
      <vt:lpstr>Dimensionerende temperaturer</vt:lpstr>
      <vt:lpstr>Dimensionerende temperaturer</vt:lpstr>
      <vt:lpstr>PowerPoint-præsentation</vt:lpstr>
      <vt:lpstr>Mindstekrav til klimaskærm</vt:lpstr>
      <vt:lpstr>Begreber</vt:lpstr>
      <vt:lpstr>Krav til vinduer og glasydervægge</vt:lpstr>
      <vt:lpstr>Krav til ovenlysvinduer og glastage</vt:lpstr>
      <vt:lpstr>Eref – hvad er det?</vt:lpstr>
      <vt:lpstr>Krav til linjetab</vt:lpstr>
      <vt:lpstr>PowerPoint-præsentation</vt:lpstr>
      <vt:lpstr>Krav til lufttæthed – kun nybyggeri</vt:lpstr>
      <vt:lpstr>Lufttæthed i energirammen</vt:lpstr>
      <vt:lpstr>Lufttæthed</vt:lpstr>
      <vt:lpstr>Gode råd</vt:lpstr>
      <vt:lpstr>PowerPoint-præsentation</vt:lpstr>
      <vt:lpstr>Andel af vedvarende energi</vt:lpstr>
      <vt:lpstr>Ændret anvendelse</vt:lpstr>
      <vt:lpstr>Eksempler</vt:lpstr>
      <vt:lpstr>Ændret anvendelse</vt:lpstr>
      <vt:lpstr>Metoder</vt:lpstr>
      <vt:lpstr>Mindstekrav til klimaskærm</vt:lpstr>
      <vt:lpstr>Krav til linjetab</vt:lpstr>
      <vt:lpstr>Tilbygning</vt:lpstr>
      <vt:lpstr>Tilbygning</vt:lpstr>
      <vt:lpstr>Metoder</vt:lpstr>
      <vt:lpstr>Metoder</vt:lpstr>
      <vt:lpstr>De to beregninger: Forskellene</vt:lpstr>
      <vt:lpstr>Eksempel</vt:lpstr>
      <vt:lpstr>Eksempel – varmetabsramme</vt:lpstr>
      <vt:lpstr>Eksempel – faktisk varmetab</vt:lpstr>
      <vt:lpstr>Konklusion på eksempel</vt:lpstr>
      <vt:lpstr>Ombygning og andre forandringer</vt:lpstr>
      <vt:lpstr>Definition</vt:lpstr>
      <vt:lpstr>Ombygning og andre forandringer</vt:lpstr>
      <vt:lpstr>Mindstekrav til klimaskærm</vt:lpstr>
      <vt:lpstr>Krav til linjetab</vt:lpstr>
      <vt:lpstr>Vejledning: Ofte rentable konstruktioner</vt:lpstr>
      <vt:lpstr>PowerPoint-præsentation</vt:lpstr>
      <vt:lpstr>PowerPoint-præsentation</vt:lpstr>
      <vt:lpstr>Særligt for tag</vt:lpstr>
      <vt:lpstr>BR18 overblikket på ByggeriOgEnergi.dk</vt:lpstr>
      <vt:lpstr>Energiløsninger gør det lettere</vt:lpstr>
      <vt:lpstr>Energibesparelse</vt:lpstr>
      <vt:lpstr>Altid krav</vt:lpstr>
      <vt:lpstr>Hvad er rentabilitet?</vt:lpstr>
      <vt:lpstr>Rentabilitet og levetider</vt:lpstr>
      <vt:lpstr>Ansvar</vt:lpstr>
      <vt:lpstr>Bygningsmæssige ændringer</vt:lpstr>
      <vt:lpstr>Skal være fugtteknisk forsvarligt</vt:lpstr>
      <vt:lpstr>Metode 2</vt:lpstr>
      <vt:lpstr>Baggrund for Renoveringsklasserne</vt:lpstr>
      <vt:lpstr>Energiramme for eksisterende bygninger</vt:lpstr>
      <vt:lpstr>Krav til at opnå Renoveringsklasse 1 eller 2</vt:lpstr>
      <vt:lpstr>Energirammen i BR18 for eksisterende byggeri</vt:lpstr>
      <vt:lpstr>Udskiftning</vt:lpstr>
      <vt:lpstr>Udskiftning</vt:lpstr>
      <vt:lpstr>Der skelnes mellem ombygning og udskiftning</vt:lpstr>
      <vt:lpstr>Mindstekrav til klimaskærm</vt:lpstr>
      <vt:lpstr>Case: Tagbelægning skal udskiftes</vt:lpstr>
      <vt:lpstr>Case: Tagbelægning skal udskiftes</vt:lpstr>
      <vt:lpstr>Case: Tagbelægning skal udskiftes</vt:lpstr>
      <vt:lpstr>Krav til vinduer og døre</vt:lpstr>
      <vt:lpstr>Sommerhuse:  Nybyggeri og ombygning</vt:lpstr>
      <vt:lpstr>Sommerhuse</vt:lpstr>
      <vt:lpstr>Fleksibilitet</vt:lpstr>
      <vt:lpstr>Ombygninger, forandringer og udskiftninger</vt:lpstr>
      <vt:lpstr>Mindstekrav til klimaskærm</vt:lpstr>
      <vt:lpstr>Ventilation</vt:lpstr>
      <vt:lpstr>Ventilationskrav ved nybyggeri</vt:lpstr>
      <vt:lpstr>Ventilationskrav ved nybyggeri</vt:lpstr>
      <vt:lpstr>Ventilationskrav ved eksisterende byggeri</vt:lpstr>
      <vt:lpstr>Varmeinstallationer</vt:lpstr>
      <vt:lpstr>Bygningsopvarmning</vt:lpstr>
      <vt:lpstr>Øvrigt</vt:lpstr>
      <vt:lpstr>Funktionsafprøvning af tekniske anlæg </vt:lpstr>
      <vt:lpstr>Funktionsafprøvning </vt:lpstr>
      <vt:lpstr>Hvornår skal noget funktionsafprøves?   </vt:lpstr>
      <vt:lpstr>Eksempel fra udbudstekst</vt:lpstr>
      <vt:lpstr>Vejledning i BR </vt:lpstr>
      <vt:lpstr>Fire uddybende vejledninger </vt:lpstr>
      <vt:lpstr>Frivillig lavenergiklasse</vt:lpstr>
      <vt:lpstr>Frivillig lavenergiklasse 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SPW (Ida-Sophie Astrup Wrisberg)</dc:creator>
  <cp:lastModifiedBy>Søren Steensen | Viegand Maagøe</cp:lastModifiedBy>
  <cp:revision>2</cp:revision>
  <dcterms:created xsi:type="dcterms:W3CDTF">2023-08-25T09:41:25Z</dcterms:created>
  <dcterms:modified xsi:type="dcterms:W3CDTF">2024-05-03T07:5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1-03T11:21:32.9463325Z</vt:lpwstr>
  </property>
  <property fmtid="{D5CDD505-2E9C-101B-9397-08002B2CF9AE}" pid="3" name="HasRun">
    <vt:lpwstr>NULL</vt:lpwstr>
  </property>
  <property fmtid="{D5CDD505-2E9C-101B-9397-08002B2CF9AE}" pid="4" name="MSIP_Label_f1b8f2ce-0142-4f44-a9c4-740ebcc2b4c9_ActionId">
    <vt:lpwstr>cb4d4271-3828-46b4-9ffd-deb8643ad681</vt:lpwstr>
  </property>
  <property fmtid="{D5CDD505-2E9C-101B-9397-08002B2CF9AE}" pid="5" name="MSIP_Label_f1b8f2ce-0142-4f44-a9c4-740ebcc2b4c9_Enabled">
    <vt:lpwstr>true</vt:lpwstr>
  </property>
  <property fmtid="{D5CDD505-2E9C-101B-9397-08002B2CF9AE}" pid="6" name="MSIP_Label_f1b8f2ce-0142-4f44-a9c4-740ebcc2b4c9_SetDate">
    <vt:lpwstr>2023-08-28T11:10:56Z</vt:lpwstr>
  </property>
  <property fmtid="{D5CDD505-2E9C-101B-9397-08002B2CF9AE}" pid="7" name="MSIP_Label_f1b8f2ce-0142-4f44-a9c4-740ebcc2b4c9_SiteId">
    <vt:lpwstr>4b275c45-50e2-4a26-8792-73ca62c33bc5</vt:lpwstr>
  </property>
  <property fmtid="{D5CDD505-2E9C-101B-9397-08002B2CF9AE}" pid="8" name="MSIP_Label_f1b8f2ce-0142-4f44-a9c4-740ebcc2b4c9_Name">
    <vt:lpwstr>General</vt:lpwstr>
  </property>
  <property fmtid="{D5CDD505-2E9C-101B-9397-08002B2CF9AE}" pid="9" name="MSIP_Label_f1b8f2ce-0142-4f44-a9c4-740ebcc2b4c9_Method">
    <vt:lpwstr>Standard</vt:lpwstr>
  </property>
  <property fmtid="{D5CDD505-2E9C-101B-9397-08002B2CF9AE}" pid="10" name="MSIP_Label_f1b8f2ce-0142-4f44-a9c4-740ebcc2b4c9_ContentBits">
    <vt:lpwstr>0</vt:lpwstr>
  </property>
  <property fmtid="{D5CDD505-2E9C-101B-9397-08002B2CF9AE}" pid="11" name="ContentTypeId">
    <vt:lpwstr>0x010100BDF22F492AE8914D8B73C3E3C23F308D</vt:lpwstr>
  </property>
  <property fmtid="{D5CDD505-2E9C-101B-9397-08002B2CF9AE}" pid="12" name="MediaServiceImageTags">
    <vt:lpwstr/>
  </property>
</Properties>
</file>